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5" r:id="rId4"/>
  </p:sldMasterIdLst>
  <p:notesMasterIdLst>
    <p:notesMasterId r:id="rId17"/>
  </p:notesMasterIdLst>
  <p:handoutMasterIdLst>
    <p:handoutMasterId r:id="rId18"/>
  </p:handoutMasterIdLst>
  <p:sldIdLst>
    <p:sldId id="1349" r:id="rId5"/>
    <p:sldId id="1317" r:id="rId6"/>
    <p:sldId id="1348" r:id="rId7"/>
    <p:sldId id="1322" r:id="rId8"/>
    <p:sldId id="1347" r:id="rId9"/>
    <p:sldId id="1315" r:id="rId10"/>
    <p:sldId id="1340" r:id="rId11"/>
    <p:sldId id="1350" r:id="rId12"/>
    <p:sldId id="1345" r:id="rId13"/>
    <p:sldId id="1351" r:id="rId14"/>
    <p:sldId id="1344" r:id="rId15"/>
    <p:sldId id="1352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BFC704C-F54C-C428-08A1-253FFC20A04C}" name="Jillene Belopolsky" initials="JB" userId="S::jbelopolsky@unfoundation.org::5bd1e602-f9b4-420c-9cd6-000f6b53a347" providerId="AD"/>
  <p188:author id="{4F3BA84E-9C9F-C313-C5F0-FF0B2A26C9D2}" name="Anushree Deb" initials="AD" userId="S::adeb@unfoundation.org::84bcb9e6-9f54-43da-b346-66ee8e737f9e" providerId="AD"/>
  <p188:author id="{7985259D-BAE6-CEEA-1003-C0E42C8A48D2}" name="Jillene Belopolsky" initials="JB" userId="S::JBelopolsky@unfoundation.org::5bd1e602-f9b4-420c-9cd6-000f6b53a34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5172EDA-C412-4222-8225-49F671CD7823}" v="50" dt="2023-06-21T07:24:54.639"/>
    <p1510:client id="{7ED16927-D927-E941-A7B2-15F95C671E56}" v="5" dt="2023-06-20T15:51:14.77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440"/>
    <p:restoredTop sz="94716"/>
  </p:normalViewPr>
  <p:slideViewPr>
    <p:cSldViewPr snapToGrid="0">
      <p:cViewPr varScale="1">
        <p:scale>
          <a:sx n="150" d="100"/>
          <a:sy n="150" d="100"/>
        </p:scale>
        <p:origin x="344" y="1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4B31E4F-8A88-8376-0954-7FC80F4CA51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820188B-4B1A-ED07-9372-81CE3379C0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3FD1FB-B00D-48EF-A153-CCEE1070B0FC}" type="datetimeFigureOut">
              <a:rPr lang="en-US" smtClean="0"/>
              <a:t>6/21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ADC7F7-7A99-9356-7614-31AE70D1E59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FCF0A3-3741-B0FB-283A-B08C9F9B889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8429E7-6C61-444E-972F-A5DDF767E0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021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922818-924A-4168-B2F6-5BDADB4321D3}" type="datetimeFigureOut">
              <a:rPr lang="en-US" smtClean="0"/>
              <a:t>6/21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F14061-ACB8-4BA3-A124-D00F59BB91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8398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7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oleObject" Target="../embeddings/oleObject13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oleObject" Target="../embeddings/oleObject15.bin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oleObject" Target="../embeddings/oleObject17.bin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oleObject" Target="../embeddings/oleObject19.bin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7.xml"/><Relationship Id="rId7" Type="http://schemas.openxmlformats.org/officeDocument/2006/relationships/oleObject" Target="../embeddings/oleObject21.bin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oleObject" Target="../embeddings/oleObject24.bin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sv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oleObject" Target="../embeddings/oleObject27.bin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sv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oleObject" Target="../embeddings/oleObject30.bin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oleObject" Target="../embeddings/oleObject32.bin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sv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oleObject" Target="../embeddings/oleObject35.bin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oleObject" Target="../embeddings/oleObject37.bin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oleObject" Target="../embeddings/oleObject39.bin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oleObject" Target="../embeddings/oleObject41.bin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oleObject" Target="../embeddings/oleObject43.bin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sv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oleObject" Target="../embeddings/oleObject47.bin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oleObject" Target="../embeddings/oleObject8.bin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oleObject" Target="../embeddings/oleObject11.bin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DD0B48C-D978-B2E0-E14A-48899E3017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5915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DD0B48C-D978-B2E0-E14A-48899E3017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365851F-B219-A9E8-EF32-CFD56B30E899}"/>
              </a:ext>
            </a:extLst>
          </p:cNvPr>
          <p:cNvSpPr/>
          <p:nvPr userDrawn="1"/>
        </p:nvSpPr>
        <p:spPr>
          <a:xfrm>
            <a:off x="5279642" y="1196975"/>
            <a:ext cx="6912359" cy="5661025"/>
          </a:xfrm>
          <a:custGeom>
            <a:avLst/>
            <a:gdLst>
              <a:gd name="connsiteX0" fmla="*/ 1283599 w 6912359"/>
              <a:gd name="connsiteY0" fmla="*/ 365 h 5661025"/>
              <a:gd name="connsiteX1" fmla="*/ 1373350 w 6912359"/>
              <a:gd name="connsiteY1" fmla="*/ 5762 h 5661025"/>
              <a:gd name="connsiteX2" fmla="*/ 6912359 w 6912359"/>
              <a:gd name="connsiteY2" fmla="*/ 911948 h 5661025"/>
              <a:gd name="connsiteX3" fmla="*/ 6912359 w 6912359"/>
              <a:gd name="connsiteY3" fmla="*/ 5661025 h 5661025"/>
              <a:gd name="connsiteX4" fmla="*/ 0 w 6912359"/>
              <a:gd name="connsiteY4" fmla="*/ 5661025 h 5661025"/>
              <a:gd name="connsiteX5" fmla="*/ 865238 w 6912359"/>
              <a:gd name="connsiteY5" fmla="*/ 370489 h 5661025"/>
              <a:gd name="connsiteX6" fmla="*/ 1283599 w 6912359"/>
              <a:gd name="connsiteY6" fmla="*/ 365 h 5661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12359" h="5661025">
                <a:moveTo>
                  <a:pt x="1283599" y="365"/>
                </a:moveTo>
                <a:cubicBezTo>
                  <a:pt x="1313044" y="-828"/>
                  <a:pt x="1343073" y="890"/>
                  <a:pt x="1373350" y="5762"/>
                </a:cubicBezTo>
                <a:lnTo>
                  <a:pt x="6912359" y="911948"/>
                </a:lnTo>
                <a:lnTo>
                  <a:pt x="6912359" y="5661025"/>
                </a:lnTo>
                <a:lnTo>
                  <a:pt x="0" y="5661025"/>
                </a:lnTo>
                <a:lnTo>
                  <a:pt x="865238" y="370489"/>
                </a:lnTo>
                <a:cubicBezTo>
                  <a:pt x="899954" y="159761"/>
                  <a:pt x="1077489" y="8721"/>
                  <a:pt x="1283599" y="365"/>
                </a:cubicBezTo>
                <a:close/>
              </a:path>
            </a:pathLst>
          </a:custGeom>
          <a:solidFill>
            <a:schemeClr val="tx2"/>
          </a:solidFill>
          <a:ln w="64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42D66AE2-0A96-D53C-5692-E34CF8C1ADB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5864229" cy="6858000"/>
          </a:xfrm>
          <a:custGeom>
            <a:avLst/>
            <a:gdLst>
              <a:gd name="connsiteX0" fmla="*/ 0 w 5864229"/>
              <a:gd name="connsiteY0" fmla="*/ 0 h 6858000"/>
              <a:gd name="connsiteX1" fmla="*/ 5864229 w 5864229"/>
              <a:gd name="connsiteY1" fmla="*/ 0 h 6858000"/>
              <a:gd name="connsiteX2" fmla="*/ 4955615 w 5864229"/>
              <a:gd name="connsiteY2" fmla="*/ 5555766 h 6858000"/>
              <a:gd name="connsiteX3" fmla="*/ 4358275 w 5864229"/>
              <a:gd name="connsiteY3" fmla="*/ 5984541 h 6858000"/>
              <a:gd name="connsiteX4" fmla="*/ 1 w 5864229"/>
              <a:gd name="connsiteY4" fmla="*/ 5271525 h 6858000"/>
              <a:gd name="connsiteX5" fmla="*/ 1 w 5864229"/>
              <a:gd name="connsiteY5" fmla="*/ 6858000 h 6858000"/>
              <a:gd name="connsiteX6" fmla="*/ 0 w 58642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64229" h="6858000">
                <a:moveTo>
                  <a:pt x="0" y="0"/>
                </a:moveTo>
                <a:lnTo>
                  <a:pt x="5864229" y="0"/>
                </a:lnTo>
                <a:lnTo>
                  <a:pt x="4955615" y="5555766"/>
                </a:lnTo>
                <a:cubicBezTo>
                  <a:pt x="4910610" y="5841344"/>
                  <a:pt x="4641399" y="6031183"/>
                  <a:pt x="4358275" y="5984541"/>
                </a:cubicBezTo>
                <a:lnTo>
                  <a:pt x="1" y="5271525"/>
                </a:lnTo>
                <a:lnTo>
                  <a:pt x="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2000" bIns="936000" anchor="ctr" anchorCtr="0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an image inside the placeholder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7CBF33-48B4-A8F6-359B-B0F36CB027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9" y="2042314"/>
            <a:ext cx="5638799" cy="2100359"/>
          </a:xfrm>
        </p:spPr>
        <p:txBody>
          <a:bodyPr vert="horz" lIns="108000" anchor="b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A9ACD1-947C-4891-6344-5049B8DEC6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216820"/>
            <a:ext cx="5638802" cy="799226"/>
          </a:xfrm>
        </p:spPr>
        <p:txBody>
          <a:bodyPr lIns="108000"/>
          <a:lstStyle>
            <a:lvl1pPr marL="0" indent="0" algn="l">
              <a:buNone/>
              <a:defRPr sz="24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0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CCF9361D-D7A2-112B-1204-8239B9A21DE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6000" y="451634"/>
            <a:ext cx="1828800" cy="745340"/>
          </a:xfrm>
          <a:prstGeom prst="rect">
            <a:avLst/>
          </a:prstGeom>
        </p:spPr>
      </p:pic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D08B5EFD-53C4-4EB9-28F8-C98C9F7256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9" y="5286732"/>
            <a:ext cx="5638800" cy="685800"/>
          </a:xfrm>
        </p:spPr>
        <p:txBody>
          <a:bodyPr lIns="108000" anchor="ctr" anchorCtr="0"/>
          <a:lstStyle>
            <a:lvl1pPr marL="0" indent="0">
              <a:buNone/>
              <a:defRPr sz="2000" b="1">
                <a:solidFill>
                  <a:srgbClr val="F99303"/>
                </a:solidFill>
              </a:defRPr>
            </a:lvl1pPr>
          </a:lstStyle>
          <a:p>
            <a:pPr lvl="0"/>
            <a:r>
              <a:rPr lang="en-US"/>
              <a:t>Date &amp; other information</a:t>
            </a: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3C47C445-AA0A-4117-8E83-5A5294ED58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45915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06" imgH="306" progId="TCLayout.ActiveDocument.1">
                  <p:embed/>
                </p:oleObj>
              </mc:Choice>
              <mc:Fallback>
                <p:oleObj name="think-cell Slide" r:id="rId8" imgW="306" imgH="30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3C47C445-AA0A-4117-8E83-5A5294ED58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A picture containing icon&#10;&#10;Description automatically generated">
            <a:extLst>
              <a:ext uri="{FF2B5EF4-FFF2-40B4-BE49-F238E27FC236}">
                <a16:creationId xmlns:a16="http://schemas.microsoft.com/office/drawing/2014/main" id="{33A09241-D0C5-CF4F-4045-265820744F9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6000" y="451634"/>
            <a:ext cx="1828800" cy="74534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444F70-1DCF-91F6-072D-083F100EFF1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6/2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294FE-F307-9E03-75EB-1537B4C1B8B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6096000" y="6254713"/>
            <a:ext cx="5638798" cy="49025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8F02EA-AA64-6DD0-F345-4D531B084B4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8622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 Boxes With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6DBAE55-5038-A71E-1BFE-E5EA5A501A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1100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6DBAE55-5038-A71E-1BFE-E5EA5A501A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84F872-231B-404B-BC83-AA7F1D8E3DFC}" type="datetime1">
              <a:rPr lang="en-US" smtClean="0"/>
              <a:t>6/21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3C8A52-6867-4192-3618-17366DB5B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5169C46F-FA5C-FDB2-CFFF-525B81688CD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9124" y="1567731"/>
            <a:ext cx="4967361" cy="1257248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612000" tIns="180000" rIns="180000" b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Press the Reset button to reset formatting.</a:t>
            </a:r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BCD38710-288A-3EF4-BFF2-514B609E020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9124" y="3006733"/>
            <a:ext cx="4967361" cy="1257248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612000" tIns="180000" rIns="180000" b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Press the Reset button to reset formatting.</a:t>
            </a:r>
          </a:p>
        </p:txBody>
      </p:sp>
      <p:sp>
        <p:nvSpPr>
          <p:cNvPr id="62" name="Text Placeholder 5">
            <a:extLst>
              <a:ext uri="{FF2B5EF4-FFF2-40B4-BE49-F238E27FC236}">
                <a16:creationId xmlns:a16="http://schemas.microsoft.com/office/drawing/2014/main" id="{450F5F36-270D-9298-4541-1A62B77A4A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9124" y="4445734"/>
            <a:ext cx="4967361" cy="1257248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612000" tIns="180000" rIns="180000" b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Press the Reset button to reset formatting.</a:t>
            </a:r>
          </a:p>
        </p:txBody>
      </p:sp>
      <p:sp>
        <p:nvSpPr>
          <p:cNvPr id="70" name="Text Placeholder 5">
            <a:extLst>
              <a:ext uri="{FF2B5EF4-FFF2-40B4-BE49-F238E27FC236}">
                <a16:creationId xmlns:a16="http://schemas.microsoft.com/office/drawing/2014/main" id="{7CF957E1-8B49-F77E-D143-93C28C2375D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67443" y="1567731"/>
            <a:ext cx="4967361" cy="1257248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612000" tIns="180000" rIns="180000" b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Press the Reset button to reset formatting.</a:t>
            </a:r>
          </a:p>
        </p:txBody>
      </p:sp>
      <p:sp>
        <p:nvSpPr>
          <p:cNvPr id="81" name="Text Placeholder 5">
            <a:extLst>
              <a:ext uri="{FF2B5EF4-FFF2-40B4-BE49-F238E27FC236}">
                <a16:creationId xmlns:a16="http://schemas.microsoft.com/office/drawing/2014/main" id="{9983F294-C78D-F311-2B60-14EC2EC02A9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67443" y="3006733"/>
            <a:ext cx="4967361" cy="1257248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612000" tIns="180000" rIns="180000" b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Press the Reset button to reset formatting.</a:t>
            </a:r>
          </a:p>
        </p:txBody>
      </p:sp>
      <p:sp>
        <p:nvSpPr>
          <p:cNvPr id="82" name="Text Placeholder 5">
            <a:extLst>
              <a:ext uri="{FF2B5EF4-FFF2-40B4-BE49-F238E27FC236}">
                <a16:creationId xmlns:a16="http://schemas.microsoft.com/office/drawing/2014/main" id="{F2B56D6D-9031-CECD-C158-22EECA1FA3C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67443" y="4445734"/>
            <a:ext cx="4967361" cy="1257248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612000" tIns="180000" rIns="180000" b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Press the Reset button to reset formatting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85941E-D224-F189-320F-3FF7EF13BB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9449" y="1739155"/>
            <a:ext cx="914401" cy="914400"/>
          </a:xfrm>
          <a:prstGeom prst="ellipse">
            <a:avLst/>
          </a:prstGeom>
          <a:solidFill>
            <a:schemeClr val="tx2"/>
          </a:solidFill>
        </p:spPr>
        <p:txBody>
          <a:bodyPr lIns="72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2" name="Text Placeholder 10">
            <a:extLst>
              <a:ext uri="{FF2B5EF4-FFF2-40B4-BE49-F238E27FC236}">
                <a16:creationId xmlns:a16="http://schemas.microsoft.com/office/drawing/2014/main" id="{9F83768B-18DB-E8E9-F808-8D884FABCE9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7198" y="3178157"/>
            <a:ext cx="914401" cy="914400"/>
          </a:xfrm>
          <a:prstGeom prst="ellipse">
            <a:avLst/>
          </a:prstGeom>
          <a:solidFill>
            <a:schemeClr val="accent1"/>
          </a:solidFill>
        </p:spPr>
        <p:txBody>
          <a:bodyPr lIns="72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3" name="Text Placeholder 10">
            <a:extLst>
              <a:ext uri="{FF2B5EF4-FFF2-40B4-BE49-F238E27FC236}">
                <a16:creationId xmlns:a16="http://schemas.microsoft.com/office/drawing/2014/main" id="{D5B16333-9BBB-26A5-8416-314065EE7E6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898" y="4617158"/>
            <a:ext cx="914401" cy="914400"/>
          </a:xfrm>
          <a:prstGeom prst="ellipse">
            <a:avLst/>
          </a:prstGeom>
          <a:solidFill>
            <a:schemeClr val="accent3"/>
          </a:solidFill>
        </p:spPr>
        <p:txBody>
          <a:bodyPr lIns="72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7" name="Text Placeholder 10">
            <a:extLst>
              <a:ext uri="{FF2B5EF4-FFF2-40B4-BE49-F238E27FC236}">
                <a16:creationId xmlns:a16="http://schemas.microsoft.com/office/drawing/2014/main" id="{18DBA234-5D3E-9879-2ED9-10FFC052368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87768" y="1739155"/>
            <a:ext cx="914401" cy="914400"/>
          </a:xfrm>
          <a:prstGeom prst="ellipse">
            <a:avLst/>
          </a:prstGeom>
          <a:solidFill>
            <a:schemeClr val="tx2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8" name="Text Placeholder 10">
            <a:extLst>
              <a:ext uri="{FF2B5EF4-FFF2-40B4-BE49-F238E27FC236}">
                <a16:creationId xmlns:a16="http://schemas.microsoft.com/office/drawing/2014/main" id="{1B415414-6E1F-BB45-49B8-DBA5AE7EE4B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75517" y="3178157"/>
            <a:ext cx="914401" cy="914400"/>
          </a:xfrm>
          <a:prstGeom prst="ellipse">
            <a:avLst/>
          </a:prstGeom>
          <a:solidFill>
            <a:schemeClr val="accent1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9" name="Text Placeholder 10">
            <a:extLst>
              <a:ext uri="{FF2B5EF4-FFF2-40B4-BE49-F238E27FC236}">
                <a16:creationId xmlns:a16="http://schemas.microsoft.com/office/drawing/2014/main" id="{88347BEB-350C-8056-476C-FE07FA497A2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98217" y="4617158"/>
            <a:ext cx="914401" cy="914400"/>
          </a:xfrm>
          <a:prstGeom prst="ellipse">
            <a:avLst/>
          </a:prstGeom>
          <a:solidFill>
            <a:schemeClr val="accent3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BE721525-958D-0711-C9FF-1674413C6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81100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BE721525-958D-0711-C9FF-1674413C64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3729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 text boxes_ With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4260ED2-2598-A39D-3DC5-BF39DD3099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9559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4260ED2-2598-A39D-3DC5-BF39DD309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D01D14-2621-FAA2-8456-FA75D5C3E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58160"/>
            <a:ext cx="11277597" cy="65784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3CE827-68B3-875C-B24A-130147B0E8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F97AA-1EDA-4656-8346-82207E7754CC}" type="datetime1">
              <a:rPr lang="en-US" smtClean="0"/>
              <a:t>6/2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6E61C8-50AD-09BE-3EB2-B0AF589219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752F7E-607F-3590-254D-0378BCD776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4D46DB00-C779-6B63-C452-6455D2585F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3281" y="1216286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73737973-0DA2-58C0-543B-C79C1A6926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3280" y="2196800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6C9B3AF7-477F-26D4-3A5C-D792D67D57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3280" y="3177314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D3A28C45-863D-0FC3-9D52-D3E3316D02D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3280" y="4157828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565DC5BE-A0D1-E87E-F760-B1C78D7903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3280" y="5138343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02271B4C-4CBD-ECA0-AB80-9BC5D767FC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72024" y="1216286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B1C3FF77-8AED-031E-F635-C99BA11FBD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72024" y="2196800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9D67BAC5-252C-7E86-03D1-8CE6EA71E2F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72024" y="3177314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3688F1B9-52C8-DD75-3F43-70BE7FDDB8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72024" y="4157828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67CD79D8-3B39-8726-C0B7-EE7DE0297FC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572024" y="5138343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2A62B67A-3B99-D9B9-21DF-C131248776F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7200" y="1321228"/>
            <a:ext cx="716280" cy="716279"/>
          </a:xfrm>
          <a:prstGeom prst="ellipse">
            <a:avLst/>
          </a:prstGeom>
          <a:solidFill>
            <a:schemeClr val="tx2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F96575A4-D81D-B153-4CFF-AA9FC63C45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3884" y="1321228"/>
            <a:ext cx="716280" cy="716279"/>
          </a:xfrm>
          <a:prstGeom prst="ellipse">
            <a:avLst/>
          </a:prstGeom>
          <a:solidFill>
            <a:schemeClr val="tx2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9C90CCD-4209-561C-590D-A266D87699F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7200" y="2301741"/>
            <a:ext cx="716280" cy="716279"/>
          </a:xfrm>
          <a:prstGeom prst="ellipse">
            <a:avLst/>
          </a:prstGeom>
          <a:solidFill>
            <a:schemeClr val="accent1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E277722E-A075-7816-4D5C-F093A0EF068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3884" y="2301741"/>
            <a:ext cx="716280" cy="716279"/>
          </a:xfrm>
          <a:prstGeom prst="ellipse">
            <a:avLst/>
          </a:prstGeom>
          <a:solidFill>
            <a:schemeClr val="accent1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64807AF5-1D72-316C-1AA0-1B51A0493A9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7200" y="3282255"/>
            <a:ext cx="716280" cy="716279"/>
          </a:xfrm>
          <a:prstGeom prst="ellipse">
            <a:avLst/>
          </a:prstGeom>
          <a:solidFill>
            <a:schemeClr val="accent3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9DEBCF67-D420-E3AD-BB90-2F682394357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13884" y="3282255"/>
            <a:ext cx="716280" cy="716279"/>
          </a:xfrm>
          <a:prstGeom prst="ellipse">
            <a:avLst/>
          </a:prstGeom>
          <a:solidFill>
            <a:schemeClr val="accent3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5C4BFD44-8209-5FD4-9418-44051DA24D7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57200" y="4262770"/>
            <a:ext cx="716280" cy="716279"/>
          </a:xfrm>
          <a:prstGeom prst="ellipse">
            <a:avLst/>
          </a:prstGeom>
          <a:solidFill>
            <a:schemeClr val="accent4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C180DFD0-DAA4-34AA-C3D1-02D4B9A044A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13884" y="4262770"/>
            <a:ext cx="716280" cy="716279"/>
          </a:xfrm>
          <a:prstGeom prst="ellipse">
            <a:avLst/>
          </a:prstGeom>
          <a:solidFill>
            <a:schemeClr val="accent4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14B7DB8C-A095-51B4-A04A-5176DE28842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7200" y="5243285"/>
            <a:ext cx="716280" cy="716279"/>
          </a:xfrm>
          <a:prstGeom prst="ellipse">
            <a:avLst/>
          </a:prstGeom>
          <a:solidFill>
            <a:schemeClr val="accent5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95BD690B-7E73-1119-A176-5EC4AF8F3B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13884" y="5243285"/>
            <a:ext cx="716280" cy="716279"/>
          </a:xfrm>
          <a:prstGeom prst="ellipse">
            <a:avLst/>
          </a:prstGeom>
          <a:solidFill>
            <a:schemeClr val="accent5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E7373F79-D4DC-EC02-943D-BCD1B5C376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79559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E7373F79-D4DC-EC02-943D-BCD1B5C376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271322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 text boxes_ No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4260ED2-2598-A39D-3DC5-BF39DD3099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9559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4260ED2-2598-A39D-3DC5-BF39DD309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D01D14-2621-FAA2-8456-FA75D5C3E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58160"/>
            <a:ext cx="11277597" cy="65784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3CE827-68B3-875C-B24A-130147B0E8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DA9CD3-6E96-4AD0-A99A-A1B4B85C7A4D}" type="datetime1">
              <a:rPr lang="en-US" smtClean="0"/>
              <a:t>6/2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6E61C8-50AD-09BE-3EB2-B0AF589219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752F7E-607F-3590-254D-0378BCD776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415AA4B-FCCF-F070-AF85-5BF83DAC2A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3281" y="1216286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373554C4-32B1-B736-95BC-732B2C2FF3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3280" y="2196800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BA42A1EF-90C0-20FD-69C4-47600C245B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3280" y="3177314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F0084888-522D-294A-1165-0D22E34ADF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3280" y="4157828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A7284345-69C1-25F6-D410-9ECCED876C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3280" y="5138343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F1358FE-76A3-547B-7857-5D3E0F6A51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72024" y="1216286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F3AA0471-7F21-8524-845C-15F41F7999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72024" y="2196800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DCDF1593-39E3-B8C6-A279-6950D3AEA7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72024" y="3177314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F4751D6E-74EC-0859-6A70-DEFF21C3277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72024" y="4157828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22E5B812-64E4-7798-C0A9-A9134281FC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572024" y="5138343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7164229B-1C14-5AD2-946B-0BC5AD90C7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79559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7164229B-1C14-5AD2-946B-0BC5AD90C7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40650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D29421A-B5C0-FB96-755E-2A01620F8B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5331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D29421A-B5C0-FB96-755E-2A01620F8B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ED22B748-F5FB-F7EA-9FF9-6781C9DFC890}"/>
              </a:ext>
            </a:extLst>
          </p:cNvPr>
          <p:cNvSpPr/>
          <p:nvPr userDrawn="1"/>
        </p:nvSpPr>
        <p:spPr>
          <a:xfrm>
            <a:off x="5819188" y="2073359"/>
            <a:ext cx="6372814" cy="4784641"/>
          </a:xfrm>
          <a:custGeom>
            <a:avLst/>
            <a:gdLst>
              <a:gd name="connsiteX0" fmla="*/ 1578800 w 6372814"/>
              <a:gd name="connsiteY0" fmla="*/ 195 h 4784641"/>
              <a:gd name="connsiteX1" fmla="*/ 1697445 w 6372814"/>
              <a:gd name="connsiteY1" fmla="*/ 15262 h 4784641"/>
              <a:gd name="connsiteX2" fmla="*/ 6372813 w 6372814"/>
              <a:gd name="connsiteY2" fmla="*/ 1085353 h 4784641"/>
              <a:gd name="connsiteX3" fmla="*/ 6372814 w 6372814"/>
              <a:gd name="connsiteY3" fmla="*/ 4784641 h 4784641"/>
              <a:gd name="connsiteX4" fmla="*/ 0 w 6372814"/>
              <a:gd name="connsiteY4" fmla="*/ 4784641 h 4784641"/>
              <a:gd name="connsiteX5" fmla="*/ 989888 w 6372814"/>
              <a:gd name="connsiteY5" fmla="*/ 458607 h 4784641"/>
              <a:gd name="connsiteX6" fmla="*/ 1578800 w 6372814"/>
              <a:gd name="connsiteY6" fmla="*/ 195 h 4784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72814" h="4784641">
                <a:moveTo>
                  <a:pt x="1578800" y="195"/>
                </a:moveTo>
                <a:cubicBezTo>
                  <a:pt x="1618041" y="1202"/>
                  <a:pt x="1657751" y="6130"/>
                  <a:pt x="1697445" y="15262"/>
                </a:cubicBezTo>
                <a:lnTo>
                  <a:pt x="6372813" y="1085353"/>
                </a:lnTo>
                <a:lnTo>
                  <a:pt x="6372814" y="4784641"/>
                </a:lnTo>
                <a:lnTo>
                  <a:pt x="0" y="4784641"/>
                </a:lnTo>
                <a:lnTo>
                  <a:pt x="989888" y="458607"/>
                </a:lnTo>
                <a:cubicBezTo>
                  <a:pt x="1052337" y="178220"/>
                  <a:pt x="1304103" y="-6854"/>
                  <a:pt x="1578800" y="195"/>
                </a:cubicBezTo>
                <a:close/>
              </a:path>
            </a:pathLst>
          </a:custGeom>
          <a:solidFill>
            <a:schemeClr val="accent2">
              <a:alpha val="20000"/>
            </a:schemeClr>
          </a:solidFill>
          <a:ln w="787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61D30CCA-B5CE-044B-5D24-71633DEDABC0}"/>
              </a:ext>
            </a:extLst>
          </p:cNvPr>
          <p:cNvSpPr/>
          <p:nvPr/>
        </p:nvSpPr>
        <p:spPr>
          <a:xfrm>
            <a:off x="0" y="0"/>
            <a:ext cx="6691019" cy="5634744"/>
          </a:xfrm>
          <a:custGeom>
            <a:avLst/>
            <a:gdLst>
              <a:gd name="connsiteX0" fmla="*/ 14828 w 6691019"/>
              <a:gd name="connsiteY0" fmla="*/ 0 h 5634744"/>
              <a:gd name="connsiteX1" fmla="*/ 6691019 w 6691019"/>
              <a:gd name="connsiteY1" fmla="*/ 0 h 5634744"/>
              <a:gd name="connsiteX2" fmla="*/ 5506609 w 6691019"/>
              <a:gd name="connsiteY2" fmla="*/ 5176138 h 5634744"/>
              <a:gd name="connsiteX3" fmla="*/ 4917698 w 6691019"/>
              <a:gd name="connsiteY3" fmla="*/ 5634550 h 5634744"/>
              <a:gd name="connsiteX4" fmla="*/ 4799053 w 6691019"/>
              <a:gd name="connsiteY4" fmla="*/ 5619483 h 5634744"/>
              <a:gd name="connsiteX5" fmla="*/ 0 w 6691019"/>
              <a:gd name="connsiteY5" fmla="*/ 4521083 h 5634744"/>
              <a:gd name="connsiteX6" fmla="*/ 0 w 6691019"/>
              <a:gd name="connsiteY6" fmla="*/ 235655 h 563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91019" h="5634744">
                <a:moveTo>
                  <a:pt x="14828" y="0"/>
                </a:moveTo>
                <a:lnTo>
                  <a:pt x="6691019" y="0"/>
                </a:lnTo>
                <a:lnTo>
                  <a:pt x="5506609" y="5176138"/>
                </a:lnTo>
                <a:cubicBezTo>
                  <a:pt x="5444160" y="5456525"/>
                  <a:pt x="5192394" y="5641599"/>
                  <a:pt x="4917698" y="5634550"/>
                </a:cubicBezTo>
                <a:cubicBezTo>
                  <a:pt x="4878457" y="5633543"/>
                  <a:pt x="4838746" y="5628615"/>
                  <a:pt x="4799053" y="5619483"/>
                </a:cubicBezTo>
                <a:lnTo>
                  <a:pt x="0" y="4521083"/>
                </a:lnTo>
                <a:lnTo>
                  <a:pt x="0" y="235655"/>
                </a:lnTo>
                <a:close/>
              </a:path>
            </a:pathLst>
          </a:custGeom>
          <a:solidFill>
            <a:schemeClr val="accent3">
              <a:alpha val="10000"/>
            </a:schemeClr>
          </a:solidFill>
          <a:ln w="787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AD817A-EF53-CAF0-A679-9C27D1483A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58160"/>
            <a:ext cx="11277599" cy="65784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8C35BD-188D-088B-778E-2574D7F9F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228" y="1201774"/>
            <a:ext cx="4695750" cy="3403393"/>
          </a:xfrm>
        </p:spPr>
        <p:txBody>
          <a:bodyPr anchor="ctr"/>
          <a:lstStyle>
            <a:lvl1pPr>
              <a:defRPr sz="24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44AFB8-C456-5E73-BF8E-D84F890C8D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039050" y="3048000"/>
            <a:ext cx="4695750" cy="3044824"/>
          </a:xfrm>
        </p:spPr>
        <p:txBody>
          <a:bodyPr anchor="ctr"/>
          <a:lstStyle>
            <a:lvl1pPr>
              <a:defRPr sz="24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9E79E6D-4795-C5BB-F269-AEE60E4B4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13D9D0-7EFA-492E-9A3C-AED35ABF268A}" type="datetime1">
              <a:rPr lang="en-US" smtClean="0"/>
              <a:t>6/21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608403-10E1-A90F-4658-C227DF4DAA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6E3200-38CC-8903-8E7C-3312586FF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FA39438-781B-0068-75B4-03C1BE4E4D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95331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FA39438-781B-0068-75B4-03C1BE4E4D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2711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ve Data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77F24F1-1B40-B065-6422-84A363E5B4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5809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77F24F1-1B40-B065-6422-84A363E5B4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2F68F733-D04C-5364-CBD1-B4A476ED2FFD}"/>
              </a:ext>
            </a:extLst>
          </p:cNvPr>
          <p:cNvSpPr/>
          <p:nvPr/>
        </p:nvSpPr>
        <p:spPr>
          <a:xfrm>
            <a:off x="6942582" y="0"/>
            <a:ext cx="524941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E8DEAB-9847-4569-807B-2760D0062837}" type="datetime1">
              <a:rPr lang="en-US" smtClean="0"/>
              <a:t>6/21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6028182" cy="490253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Chart Placeholder 17">
            <a:extLst>
              <a:ext uri="{FF2B5EF4-FFF2-40B4-BE49-F238E27FC236}">
                <a16:creationId xmlns:a16="http://schemas.microsoft.com/office/drawing/2014/main" id="{DE459215-39D9-9D32-420F-6DCBF27B7B48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457199" y="457201"/>
            <a:ext cx="6028183" cy="5635624"/>
          </a:xfrm>
        </p:spPr>
        <p:txBody>
          <a:bodyPr bIns="1188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live data. Edit the automatically generated spreadsheet to change data points on the chart.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81A840BA-AE24-6833-967B-3FCD338D8BC6}"/>
              </a:ext>
            </a:extLst>
          </p:cNvPr>
          <p:cNvSpPr/>
          <p:nvPr/>
        </p:nvSpPr>
        <p:spPr>
          <a:xfrm>
            <a:off x="7965943" y="4163340"/>
            <a:ext cx="4226058" cy="2694660"/>
          </a:xfrm>
          <a:custGeom>
            <a:avLst/>
            <a:gdLst>
              <a:gd name="connsiteX0" fmla="*/ 1796222 w 4226058"/>
              <a:gd name="connsiteY0" fmla="*/ 1004 h 2694660"/>
              <a:gd name="connsiteX1" fmla="*/ 2050718 w 4226058"/>
              <a:gd name="connsiteY1" fmla="*/ 60788 h 2694660"/>
              <a:gd name="connsiteX2" fmla="*/ 4226058 w 4226058"/>
              <a:gd name="connsiteY2" fmla="*/ 1327146 h 2694660"/>
              <a:gd name="connsiteX3" fmla="*/ 4226058 w 4226058"/>
              <a:gd name="connsiteY3" fmla="*/ 2694660 h 2694660"/>
              <a:gd name="connsiteX4" fmla="*/ 0 w 4226058"/>
              <a:gd name="connsiteY4" fmla="*/ 2694660 h 2694660"/>
              <a:gd name="connsiteX5" fmla="*/ 1439280 w 4226058"/>
              <a:gd name="connsiteY5" fmla="*/ 222275 h 2694660"/>
              <a:gd name="connsiteX6" fmla="*/ 1796222 w 4226058"/>
              <a:gd name="connsiteY6" fmla="*/ 1004 h 269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26058" h="2694660">
                <a:moveTo>
                  <a:pt x="1796222" y="1004"/>
                </a:moveTo>
                <a:cubicBezTo>
                  <a:pt x="1882159" y="-4760"/>
                  <a:pt x="1970681" y="14195"/>
                  <a:pt x="2050718" y="60788"/>
                </a:cubicBezTo>
                <a:lnTo>
                  <a:pt x="4226058" y="1327146"/>
                </a:lnTo>
                <a:lnTo>
                  <a:pt x="4226058" y="2694660"/>
                </a:lnTo>
                <a:lnTo>
                  <a:pt x="0" y="2694660"/>
                </a:lnTo>
                <a:lnTo>
                  <a:pt x="1439280" y="222275"/>
                </a:lnTo>
                <a:cubicBezTo>
                  <a:pt x="1516939" y="88877"/>
                  <a:pt x="1652992" y="10610"/>
                  <a:pt x="1796222" y="1004"/>
                </a:cubicBezTo>
                <a:close/>
              </a:path>
            </a:pathLst>
          </a:cu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28BD8E68-807C-5A09-5B81-8F33325DB87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396163" y="2002515"/>
            <a:ext cx="4338637" cy="4099469"/>
          </a:xfrm>
        </p:spPr>
        <p:txBody>
          <a:bodyPr anchor="t"/>
          <a:lstStyle>
            <a:lvl1pPr>
              <a:defRPr sz="24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B89886D0-FA9A-6183-78A2-3873E59016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35809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B89886D0-FA9A-6183-78A2-3873E59016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69702F-4143-3E57-A71B-8D4AE3A14D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96162" y="358160"/>
            <a:ext cx="4338637" cy="11023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9EA7FE0-527E-6BCF-7529-DB1D350904C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22361" y="6294409"/>
            <a:ext cx="1012439" cy="4108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23047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ve Data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5CBB890-2B34-0EDC-86F4-4C979D60C8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4251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5CBB890-2B34-0EDC-86F4-4C979D60C8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2F68F733-D04C-5364-CBD1-B4A476ED2FFD}"/>
              </a:ext>
            </a:extLst>
          </p:cNvPr>
          <p:cNvSpPr/>
          <p:nvPr/>
        </p:nvSpPr>
        <p:spPr>
          <a:xfrm>
            <a:off x="0" y="0"/>
            <a:ext cx="570661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72E7E85-164D-425E-84A8-872DEF8B7B74}" type="datetime1">
              <a:rPr lang="en-US" smtClean="0"/>
              <a:t>6/21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Chart Placeholder 17">
            <a:extLst>
              <a:ext uri="{FF2B5EF4-FFF2-40B4-BE49-F238E27FC236}">
                <a16:creationId xmlns:a16="http://schemas.microsoft.com/office/drawing/2014/main" id="{DE459215-39D9-9D32-420F-6DCBF27B7B48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6096000" y="457201"/>
            <a:ext cx="5635182" cy="5635624"/>
          </a:xfrm>
        </p:spPr>
        <p:txBody>
          <a:bodyPr bIns="1188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live data. Edit the automatically </a:t>
            </a:r>
            <a:br>
              <a:rPr lang="en-US"/>
            </a:br>
            <a:r>
              <a:rPr lang="en-US"/>
              <a:t>generated spreadsheet to change data points on the chart.</a:t>
            </a: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989E78D6-865E-23E7-3982-71F77BAC7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4823012" cy="1345028"/>
          </a:xfrm>
        </p:spPr>
        <p:txBody>
          <a:bodyPr vert="horz" lIns="0" anchor="ctr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28BD8E68-807C-5A09-5B81-8F33325DB87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7773" y="2002515"/>
            <a:ext cx="4817723" cy="4090310"/>
          </a:xfrm>
        </p:spPr>
        <p:txBody>
          <a:bodyPr anchor="t"/>
          <a:lstStyle>
            <a:lvl1pPr>
              <a:defRPr sz="24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C95B822-3407-8CAF-5F98-FD259482E694}"/>
              </a:ext>
            </a:extLst>
          </p:cNvPr>
          <p:cNvSpPr/>
          <p:nvPr/>
        </p:nvSpPr>
        <p:spPr>
          <a:xfrm flipH="1">
            <a:off x="0" y="4163340"/>
            <a:ext cx="4226058" cy="2694660"/>
          </a:xfrm>
          <a:custGeom>
            <a:avLst/>
            <a:gdLst>
              <a:gd name="connsiteX0" fmla="*/ 1796222 w 4226058"/>
              <a:gd name="connsiteY0" fmla="*/ 1004 h 2694660"/>
              <a:gd name="connsiteX1" fmla="*/ 2050718 w 4226058"/>
              <a:gd name="connsiteY1" fmla="*/ 60788 h 2694660"/>
              <a:gd name="connsiteX2" fmla="*/ 4226058 w 4226058"/>
              <a:gd name="connsiteY2" fmla="*/ 1327146 h 2694660"/>
              <a:gd name="connsiteX3" fmla="*/ 4226058 w 4226058"/>
              <a:gd name="connsiteY3" fmla="*/ 2694660 h 2694660"/>
              <a:gd name="connsiteX4" fmla="*/ 0 w 4226058"/>
              <a:gd name="connsiteY4" fmla="*/ 2694660 h 2694660"/>
              <a:gd name="connsiteX5" fmla="*/ 1439280 w 4226058"/>
              <a:gd name="connsiteY5" fmla="*/ 222275 h 2694660"/>
              <a:gd name="connsiteX6" fmla="*/ 1796222 w 4226058"/>
              <a:gd name="connsiteY6" fmla="*/ 1004 h 269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26058" h="2694660">
                <a:moveTo>
                  <a:pt x="1796222" y="1004"/>
                </a:moveTo>
                <a:cubicBezTo>
                  <a:pt x="1882159" y="-4760"/>
                  <a:pt x="1970681" y="14195"/>
                  <a:pt x="2050718" y="60788"/>
                </a:cubicBezTo>
                <a:lnTo>
                  <a:pt x="4226058" y="1327146"/>
                </a:lnTo>
                <a:lnTo>
                  <a:pt x="4226058" y="2694660"/>
                </a:lnTo>
                <a:lnTo>
                  <a:pt x="0" y="2694660"/>
                </a:lnTo>
                <a:lnTo>
                  <a:pt x="1439280" y="222275"/>
                </a:lnTo>
                <a:cubicBezTo>
                  <a:pt x="1516939" y="88877"/>
                  <a:pt x="1652992" y="10610"/>
                  <a:pt x="1796222" y="1004"/>
                </a:cubicBezTo>
                <a:close/>
              </a:path>
            </a:pathLst>
          </a:cu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46948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ve Data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14D0C1E9-6CD1-BEDE-A892-942E9CA1A3E0}"/>
              </a:ext>
            </a:extLst>
          </p:cNvPr>
          <p:cNvSpPr/>
          <p:nvPr/>
        </p:nvSpPr>
        <p:spPr>
          <a:xfrm>
            <a:off x="0" y="0"/>
            <a:ext cx="12192000" cy="223544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03D2574-B72E-A593-1F54-3759A9FCC98F}"/>
              </a:ext>
            </a:extLst>
          </p:cNvPr>
          <p:cNvGrpSpPr/>
          <p:nvPr/>
        </p:nvGrpSpPr>
        <p:grpSpPr>
          <a:xfrm>
            <a:off x="10356274" y="-1"/>
            <a:ext cx="1835725" cy="1584149"/>
            <a:chOff x="8901408" y="0"/>
            <a:chExt cx="3290592" cy="2839633"/>
          </a:xfrm>
          <a:solidFill>
            <a:schemeClr val="accent1">
              <a:alpha val="30000"/>
            </a:schemeClr>
          </a:solidFill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7763564-8B4C-22B8-B7F5-9A76D73A7A24}"/>
                </a:ext>
              </a:extLst>
            </p:cNvPr>
            <p:cNvSpPr/>
            <p:nvPr/>
          </p:nvSpPr>
          <p:spPr>
            <a:xfrm rot="2700000" flipH="1" flipV="1">
              <a:off x="8816518" y="661068"/>
              <a:ext cx="2808655" cy="1548475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856C2C10-C279-57CC-45E5-292F582C9CE8}"/>
                </a:ext>
              </a:extLst>
            </p:cNvPr>
            <p:cNvSpPr/>
            <p:nvPr/>
          </p:nvSpPr>
          <p:spPr>
            <a:xfrm rot="10800000">
              <a:off x="10140700" y="1213054"/>
              <a:ext cx="2051300" cy="1548474"/>
            </a:xfrm>
            <a:custGeom>
              <a:avLst/>
              <a:gdLst>
                <a:gd name="connsiteX0" fmla="*/ 646973 w 2051300"/>
                <a:gd name="connsiteY0" fmla="*/ 345605 h 1548474"/>
                <a:gd name="connsiteX1" fmla="*/ 646974 w 2051300"/>
                <a:gd name="connsiteY1" fmla="*/ 345602 h 1548474"/>
                <a:gd name="connsiteX2" fmla="*/ 646973 w 2051300"/>
                <a:gd name="connsiteY2" fmla="*/ 345601 h 1548474"/>
                <a:gd name="connsiteX3" fmla="*/ 646970 w 2051300"/>
                <a:gd name="connsiteY3" fmla="*/ 345602 h 1548474"/>
                <a:gd name="connsiteX4" fmla="*/ 669329 w 2051300"/>
                <a:gd name="connsiteY4" fmla="*/ 1548474 h 1548474"/>
                <a:gd name="connsiteX5" fmla="*/ 646973 w 2051300"/>
                <a:gd name="connsiteY5" fmla="*/ 1546331 h 1548474"/>
                <a:gd name="connsiteX6" fmla="*/ 624615 w 2051300"/>
                <a:gd name="connsiteY6" fmla="*/ 1548474 h 1548474"/>
                <a:gd name="connsiteX7" fmla="*/ 352592 w 2051300"/>
                <a:gd name="connsiteY7" fmla="*/ 1435799 h 1548474"/>
                <a:gd name="connsiteX8" fmla="*/ 26394 w 2051300"/>
                <a:gd name="connsiteY8" fmla="*/ 1109601 h 1548474"/>
                <a:gd name="connsiteX9" fmla="*/ 26394 w 2051300"/>
                <a:gd name="connsiteY9" fmla="*/ 1109597 h 1548474"/>
                <a:gd name="connsiteX10" fmla="*/ 0 w 2051300"/>
                <a:gd name="connsiteY10" fmla="*/ 1083203 h 1548474"/>
                <a:gd name="connsiteX11" fmla="*/ 0 w 2051300"/>
                <a:gd name="connsiteY11" fmla="*/ 6822 h 1548474"/>
                <a:gd name="connsiteX12" fmla="*/ 26396 w 2051300"/>
                <a:gd name="connsiteY12" fmla="*/ 9352 h 1548474"/>
                <a:gd name="connsiteX13" fmla="*/ 26396 w 2051300"/>
                <a:gd name="connsiteY13" fmla="*/ 9355 h 1548474"/>
                <a:gd name="connsiteX14" fmla="*/ 34680 w 2051300"/>
                <a:gd name="connsiteY14" fmla="*/ 10150 h 1548474"/>
                <a:gd name="connsiteX15" fmla="*/ 84094 w 2051300"/>
                <a:gd name="connsiteY15" fmla="*/ 59564 h 1548474"/>
                <a:gd name="connsiteX16" fmla="*/ 478377 w 2051300"/>
                <a:gd name="connsiteY16" fmla="*/ 269334 h 1548474"/>
                <a:gd name="connsiteX17" fmla="*/ 580490 w 2051300"/>
                <a:gd name="connsiteY17" fmla="*/ 279121 h 1548474"/>
                <a:gd name="connsiteX18" fmla="*/ 643784 w 2051300"/>
                <a:gd name="connsiteY18" fmla="*/ 342417 h 1548474"/>
                <a:gd name="connsiteX19" fmla="*/ 643784 w 2051300"/>
                <a:gd name="connsiteY19" fmla="*/ 342413 h 1548474"/>
                <a:gd name="connsiteX20" fmla="*/ 580490 w 2051300"/>
                <a:gd name="connsiteY20" fmla="*/ 279118 h 1548474"/>
                <a:gd name="connsiteX21" fmla="*/ 624288 w 2051300"/>
                <a:gd name="connsiteY21" fmla="*/ 283318 h 1548474"/>
                <a:gd name="connsiteX22" fmla="*/ 643784 w 2051300"/>
                <a:gd name="connsiteY22" fmla="*/ 281449 h 1548474"/>
                <a:gd name="connsiteX23" fmla="*/ 643784 w 2051300"/>
                <a:gd name="connsiteY23" fmla="*/ 280838 h 1548474"/>
                <a:gd name="connsiteX24" fmla="*/ 646973 w 2051300"/>
                <a:gd name="connsiteY24" fmla="*/ 281143 h 1548474"/>
                <a:gd name="connsiteX25" fmla="*/ 650160 w 2051300"/>
                <a:gd name="connsiteY25" fmla="*/ 280838 h 1548474"/>
                <a:gd name="connsiteX26" fmla="*/ 650160 w 2051300"/>
                <a:gd name="connsiteY26" fmla="*/ 281449 h 1548474"/>
                <a:gd name="connsiteX27" fmla="*/ 669656 w 2051300"/>
                <a:gd name="connsiteY27" fmla="*/ 283318 h 1548474"/>
                <a:gd name="connsiteX28" fmla="*/ 713454 w 2051300"/>
                <a:gd name="connsiteY28" fmla="*/ 279118 h 1548474"/>
                <a:gd name="connsiteX29" fmla="*/ 650160 w 2051300"/>
                <a:gd name="connsiteY29" fmla="*/ 342413 h 1548474"/>
                <a:gd name="connsiteX30" fmla="*/ 650160 w 2051300"/>
                <a:gd name="connsiteY30" fmla="*/ 342417 h 1548474"/>
                <a:gd name="connsiteX31" fmla="*/ 713454 w 2051300"/>
                <a:gd name="connsiteY31" fmla="*/ 279121 h 1548474"/>
                <a:gd name="connsiteX32" fmla="*/ 815567 w 2051300"/>
                <a:gd name="connsiteY32" fmla="*/ 269334 h 1548474"/>
                <a:gd name="connsiteX33" fmla="*/ 1209850 w 2051300"/>
                <a:gd name="connsiteY33" fmla="*/ 59564 h 1548474"/>
                <a:gd name="connsiteX34" fmla="*/ 1259264 w 2051300"/>
                <a:gd name="connsiteY34" fmla="*/ 10150 h 1548474"/>
                <a:gd name="connsiteX35" fmla="*/ 1267548 w 2051300"/>
                <a:gd name="connsiteY35" fmla="*/ 9355 h 1548474"/>
                <a:gd name="connsiteX36" fmla="*/ 1267548 w 2051300"/>
                <a:gd name="connsiteY36" fmla="*/ 9352 h 1548474"/>
                <a:gd name="connsiteX37" fmla="*/ 1365122 w 2051300"/>
                <a:gd name="connsiteY37" fmla="*/ 0 h 1548474"/>
                <a:gd name="connsiteX38" fmla="*/ 2001103 w 2051300"/>
                <a:gd name="connsiteY38" fmla="*/ 263433 h 1548474"/>
                <a:gd name="connsiteX39" fmla="*/ 2051300 w 2051300"/>
                <a:gd name="connsiteY39" fmla="*/ 313630 h 1548474"/>
                <a:gd name="connsiteX40" fmla="*/ 2051300 w 2051300"/>
                <a:gd name="connsiteY40" fmla="*/ 325847 h 1548474"/>
                <a:gd name="connsiteX41" fmla="*/ 1267550 w 2051300"/>
                <a:gd name="connsiteY41" fmla="*/ 1109597 h 1548474"/>
                <a:gd name="connsiteX42" fmla="*/ 1267550 w 2051300"/>
                <a:gd name="connsiteY42" fmla="*/ 1109601 h 1548474"/>
                <a:gd name="connsiteX43" fmla="*/ 941352 w 2051300"/>
                <a:gd name="connsiteY43" fmla="*/ 1435799 h 1548474"/>
                <a:gd name="connsiteX44" fmla="*/ 669329 w 2051300"/>
                <a:gd name="connsiteY44" fmla="*/ 1548474 h 1548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051300" h="1548474">
                  <a:moveTo>
                    <a:pt x="646973" y="345605"/>
                  </a:moveTo>
                  <a:lnTo>
                    <a:pt x="646974" y="345602"/>
                  </a:lnTo>
                  <a:lnTo>
                    <a:pt x="646973" y="345601"/>
                  </a:lnTo>
                  <a:lnTo>
                    <a:pt x="646970" y="345602"/>
                  </a:lnTo>
                  <a:close/>
                  <a:moveTo>
                    <a:pt x="669329" y="1548474"/>
                  </a:moveTo>
                  <a:lnTo>
                    <a:pt x="646973" y="1546331"/>
                  </a:lnTo>
                  <a:lnTo>
                    <a:pt x="624615" y="1548474"/>
                  </a:lnTo>
                  <a:cubicBezTo>
                    <a:pt x="526162" y="1548474"/>
                    <a:pt x="427709" y="1510917"/>
                    <a:pt x="352592" y="1435799"/>
                  </a:cubicBezTo>
                  <a:lnTo>
                    <a:pt x="26394" y="1109601"/>
                  </a:lnTo>
                  <a:lnTo>
                    <a:pt x="26394" y="1109597"/>
                  </a:lnTo>
                  <a:lnTo>
                    <a:pt x="0" y="1083203"/>
                  </a:lnTo>
                  <a:lnTo>
                    <a:pt x="0" y="6822"/>
                  </a:lnTo>
                  <a:lnTo>
                    <a:pt x="26396" y="9352"/>
                  </a:lnTo>
                  <a:lnTo>
                    <a:pt x="26396" y="9355"/>
                  </a:lnTo>
                  <a:lnTo>
                    <a:pt x="34680" y="10150"/>
                  </a:lnTo>
                  <a:lnTo>
                    <a:pt x="84094" y="59564"/>
                  </a:lnTo>
                  <a:cubicBezTo>
                    <a:pt x="195972" y="171442"/>
                    <a:pt x="333916" y="241365"/>
                    <a:pt x="478377" y="269334"/>
                  </a:cubicBezTo>
                  <a:lnTo>
                    <a:pt x="580490" y="279121"/>
                  </a:lnTo>
                  <a:lnTo>
                    <a:pt x="643784" y="342417"/>
                  </a:lnTo>
                  <a:lnTo>
                    <a:pt x="643784" y="342413"/>
                  </a:lnTo>
                  <a:lnTo>
                    <a:pt x="580490" y="279118"/>
                  </a:lnTo>
                  <a:lnTo>
                    <a:pt x="624288" y="283318"/>
                  </a:lnTo>
                  <a:lnTo>
                    <a:pt x="643784" y="281449"/>
                  </a:lnTo>
                  <a:lnTo>
                    <a:pt x="643784" y="280838"/>
                  </a:lnTo>
                  <a:lnTo>
                    <a:pt x="646973" y="281143"/>
                  </a:lnTo>
                  <a:lnTo>
                    <a:pt x="650160" y="280838"/>
                  </a:lnTo>
                  <a:lnTo>
                    <a:pt x="650160" y="281449"/>
                  </a:lnTo>
                  <a:lnTo>
                    <a:pt x="669656" y="283318"/>
                  </a:lnTo>
                  <a:lnTo>
                    <a:pt x="713454" y="279118"/>
                  </a:lnTo>
                  <a:lnTo>
                    <a:pt x="650160" y="342413"/>
                  </a:lnTo>
                  <a:lnTo>
                    <a:pt x="650160" y="342417"/>
                  </a:lnTo>
                  <a:lnTo>
                    <a:pt x="713454" y="279121"/>
                  </a:lnTo>
                  <a:lnTo>
                    <a:pt x="815567" y="269334"/>
                  </a:lnTo>
                  <a:cubicBezTo>
                    <a:pt x="960028" y="241365"/>
                    <a:pt x="1097972" y="171442"/>
                    <a:pt x="1209850" y="59564"/>
                  </a:cubicBezTo>
                  <a:lnTo>
                    <a:pt x="1259264" y="10150"/>
                  </a:lnTo>
                  <a:lnTo>
                    <a:pt x="1267548" y="9355"/>
                  </a:lnTo>
                  <a:lnTo>
                    <a:pt x="1267548" y="9352"/>
                  </a:lnTo>
                  <a:lnTo>
                    <a:pt x="1365122" y="0"/>
                  </a:lnTo>
                  <a:cubicBezTo>
                    <a:pt x="1595302" y="0"/>
                    <a:pt x="1825482" y="87810"/>
                    <a:pt x="2001103" y="263433"/>
                  </a:cubicBezTo>
                  <a:lnTo>
                    <a:pt x="2051300" y="313630"/>
                  </a:lnTo>
                  <a:lnTo>
                    <a:pt x="2051300" y="325847"/>
                  </a:lnTo>
                  <a:lnTo>
                    <a:pt x="1267550" y="1109597"/>
                  </a:lnTo>
                  <a:lnTo>
                    <a:pt x="1267550" y="1109601"/>
                  </a:lnTo>
                  <a:lnTo>
                    <a:pt x="941352" y="1435799"/>
                  </a:lnTo>
                  <a:cubicBezTo>
                    <a:pt x="866235" y="1510917"/>
                    <a:pt x="767782" y="1548474"/>
                    <a:pt x="669329" y="1548474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0541F63-12C5-BC36-D4F0-D7D5000CD6D5}"/>
                </a:ext>
              </a:extLst>
            </p:cNvPr>
            <p:cNvSpPr/>
            <p:nvPr/>
          </p:nvSpPr>
          <p:spPr>
            <a:xfrm rot="16200000" flipH="1">
              <a:off x="8917500" y="-16092"/>
              <a:ext cx="1516291" cy="1548475"/>
            </a:xfrm>
            <a:custGeom>
              <a:avLst/>
              <a:gdLst>
                <a:gd name="connsiteX0" fmla="*/ 111961 w 1516291"/>
                <a:gd name="connsiteY0" fmla="*/ 345603 h 1548475"/>
                <a:gd name="connsiteX1" fmla="*/ 111964 w 1516291"/>
                <a:gd name="connsiteY1" fmla="*/ 345601 h 1548475"/>
                <a:gd name="connsiteX2" fmla="*/ 111966 w 1516291"/>
                <a:gd name="connsiteY2" fmla="*/ 345603 h 1548475"/>
                <a:gd name="connsiteX3" fmla="*/ 111964 w 1516291"/>
                <a:gd name="connsiteY3" fmla="*/ 345605 h 1548475"/>
                <a:gd name="connsiteX4" fmla="*/ 0 w 1516291"/>
                <a:gd name="connsiteY4" fmla="*/ 274762 h 1548475"/>
                <a:gd name="connsiteX5" fmla="*/ 0 w 1516291"/>
                <a:gd name="connsiteY5" fmla="*/ 1531039 h 1548475"/>
                <a:gd name="connsiteX6" fmla="*/ 89606 w 1516291"/>
                <a:gd name="connsiteY6" fmla="*/ 1548475 h 1548475"/>
                <a:gd name="connsiteX7" fmla="*/ 111964 w 1516291"/>
                <a:gd name="connsiteY7" fmla="*/ 1546332 h 1548475"/>
                <a:gd name="connsiteX8" fmla="*/ 134321 w 1516291"/>
                <a:gd name="connsiteY8" fmla="*/ 1548475 h 1548475"/>
                <a:gd name="connsiteX9" fmla="*/ 406343 w 1516291"/>
                <a:gd name="connsiteY9" fmla="*/ 1435800 h 1548475"/>
                <a:gd name="connsiteX10" fmla="*/ 732541 w 1516291"/>
                <a:gd name="connsiteY10" fmla="*/ 1109602 h 1548475"/>
                <a:gd name="connsiteX11" fmla="*/ 732541 w 1516291"/>
                <a:gd name="connsiteY11" fmla="*/ 1109597 h 1548475"/>
                <a:gd name="connsiteX12" fmla="*/ 1516291 w 1516291"/>
                <a:gd name="connsiteY12" fmla="*/ 325847 h 1548475"/>
                <a:gd name="connsiteX13" fmla="*/ 1516291 w 1516291"/>
                <a:gd name="connsiteY13" fmla="*/ 313630 h 1548475"/>
                <a:gd name="connsiteX14" fmla="*/ 1466094 w 1516291"/>
                <a:gd name="connsiteY14" fmla="*/ 263433 h 1548475"/>
                <a:gd name="connsiteX15" fmla="*/ 830113 w 1516291"/>
                <a:gd name="connsiteY15" fmla="*/ 0 h 1548475"/>
                <a:gd name="connsiteX16" fmla="*/ 732539 w 1516291"/>
                <a:gd name="connsiteY16" fmla="*/ 9352 h 1548475"/>
                <a:gd name="connsiteX17" fmla="*/ 732539 w 1516291"/>
                <a:gd name="connsiteY17" fmla="*/ 9355 h 1548475"/>
                <a:gd name="connsiteX18" fmla="*/ 724256 w 1516291"/>
                <a:gd name="connsiteY18" fmla="*/ 10149 h 1548475"/>
                <a:gd name="connsiteX19" fmla="*/ 674841 w 1516291"/>
                <a:gd name="connsiteY19" fmla="*/ 59564 h 1548475"/>
                <a:gd name="connsiteX20" fmla="*/ 280559 w 1516291"/>
                <a:gd name="connsiteY20" fmla="*/ 269334 h 1548475"/>
                <a:gd name="connsiteX21" fmla="*/ 178446 w 1516291"/>
                <a:gd name="connsiteY21" fmla="*/ 279121 h 1548475"/>
                <a:gd name="connsiteX22" fmla="*/ 115151 w 1516291"/>
                <a:gd name="connsiteY22" fmla="*/ 342417 h 1548475"/>
                <a:gd name="connsiteX23" fmla="*/ 115151 w 1516291"/>
                <a:gd name="connsiteY23" fmla="*/ 342413 h 1548475"/>
                <a:gd name="connsiteX24" fmla="*/ 178446 w 1516291"/>
                <a:gd name="connsiteY24" fmla="*/ 279118 h 1548475"/>
                <a:gd name="connsiteX25" fmla="*/ 134648 w 1516291"/>
                <a:gd name="connsiteY25" fmla="*/ 283318 h 1548475"/>
                <a:gd name="connsiteX26" fmla="*/ 115151 w 1516291"/>
                <a:gd name="connsiteY26" fmla="*/ 281449 h 1548475"/>
                <a:gd name="connsiteX27" fmla="*/ 115151 w 1516291"/>
                <a:gd name="connsiteY27" fmla="*/ 280838 h 1548475"/>
                <a:gd name="connsiteX28" fmla="*/ 111964 w 1516291"/>
                <a:gd name="connsiteY28" fmla="*/ 281143 h 1548475"/>
                <a:gd name="connsiteX29" fmla="*/ 108776 w 1516291"/>
                <a:gd name="connsiteY29" fmla="*/ 280838 h 1548475"/>
                <a:gd name="connsiteX30" fmla="*/ 108776 w 1516291"/>
                <a:gd name="connsiteY30" fmla="*/ 281449 h 1548475"/>
                <a:gd name="connsiteX31" fmla="*/ 89279 w 1516291"/>
                <a:gd name="connsiteY31" fmla="*/ 283318 h 1548475"/>
                <a:gd name="connsiteX32" fmla="*/ 45481 w 1516291"/>
                <a:gd name="connsiteY32" fmla="*/ 279118 h 1548475"/>
                <a:gd name="connsiteX33" fmla="*/ 108776 w 1516291"/>
                <a:gd name="connsiteY33" fmla="*/ 342413 h 1548475"/>
                <a:gd name="connsiteX34" fmla="*/ 108776 w 1516291"/>
                <a:gd name="connsiteY34" fmla="*/ 342417 h 1548475"/>
                <a:gd name="connsiteX35" fmla="*/ 45481 w 1516291"/>
                <a:gd name="connsiteY35" fmla="*/ 279121 h 1548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516291" h="1548475">
                  <a:moveTo>
                    <a:pt x="111961" y="345603"/>
                  </a:moveTo>
                  <a:lnTo>
                    <a:pt x="111964" y="345601"/>
                  </a:lnTo>
                  <a:lnTo>
                    <a:pt x="111966" y="345603"/>
                  </a:lnTo>
                  <a:lnTo>
                    <a:pt x="111964" y="345605"/>
                  </a:lnTo>
                  <a:close/>
                  <a:moveTo>
                    <a:pt x="0" y="274762"/>
                  </a:moveTo>
                  <a:lnTo>
                    <a:pt x="0" y="1531039"/>
                  </a:lnTo>
                  <a:lnTo>
                    <a:pt x="89606" y="1548475"/>
                  </a:lnTo>
                  <a:lnTo>
                    <a:pt x="111964" y="1546332"/>
                  </a:lnTo>
                  <a:lnTo>
                    <a:pt x="134321" y="1548475"/>
                  </a:lnTo>
                  <a:cubicBezTo>
                    <a:pt x="232774" y="1548475"/>
                    <a:pt x="331227" y="1510918"/>
                    <a:pt x="406343" y="1435800"/>
                  </a:cubicBezTo>
                  <a:lnTo>
                    <a:pt x="732541" y="1109602"/>
                  </a:lnTo>
                  <a:lnTo>
                    <a:pt x="732541" y="1109597"/>
                  </a:lnTo>
                  <a:lnTo>
                    <a:pt x="1516291" y="325847"/>
                  </a:lnTo>
                  <a:lnTo>
                    <a:pt x="1516291" y="313630"/>
                  </a:lnTo>
                  <a:lnTo>
                    <a:pt x="1466094" y="263433"/>
                  </a:lnTo>
                  <a:cubicBezTo>
                    <a:pt x="1290473" y="87810"/>
                    <a:pt x="1060293" y="0"/>
                    <a:pt x="830113" y="0"/>
                  </a:cubicBezTo>
                  <a:lnTo>
                    <a:pt x="732539" y="9352"/>
                  </a:lnTo>
                  <a:lnTo>
                    <a:pt x="732539" y="9355"/>
                  </a:lnTo>
                  <a:lnTo>
                    <a:pt x="724256" y="10149"/>
                  </a:lnTo>
                  <a:lnTo>
                    <a:pt x="674841" y="59564"/>
                  </a:lnTo>
                  <a:cubicBezTo>
                    <a:pt x="562963" y="171442"/>
                    <a:pt x="425019" y="241365"/>
                    <a:pt x="280559" y="269334"/>
                  </a:cubicBezTo>
                  <a:lnTo>
                    <a:pt x="178446" y="279121"/>
                  </a:lnTo>
                  <a:lnTo>
                    <a:pt x="115151" y="342417"/>
                  </a:lnTo>
                  <a:lnTo>
                    <a:pt x="115151" y="342413"/>
                  </a:lnTo>
                  <a:lnTo>
                    <a:pt x="178446" y="279118"/>
                  </a:lnTo>
                  <a:lnTo>
                    <a:pt x="134648" y="283318"/>
                  </a:lnTo>
                  <a:lnTo>
                    <a:pt x="115151" y="281449"/>
                  </a:lnTo>
                  <a:lnTo>
                    <a:pt x="115151" y="280838"/>
                  </a:lnTo>
                  <a:lnTo>
                    <a:pt x="111964" y="281143"/>
                  </a:lnTo>
                  <a:lnTo>
                    <a:pt x="108776" y="280838"/>
                  </a:lnTo>
                  <a:lnTo>
                    <a:pt x="108776" y="281449"/>
                  </a:lnTo>
                  <a:lnTo>
                    <a:pt x="89279" y="283318"/>
                  </a:lnTo>
                  <a:lnTo>
                    <a:pt x="45481" y="279118"/>
                  </a:lnTo>
                  <a:lnTo>
                    <a:pt x="108776" y="342413"/>
                  </a:lnTo>
                  <a:lnTo>
                    <a:pt x="108776" y="342417"/>
                  </a:lnTo>
                  <a:lnTo>
                    <a:pt x="45481" y="279121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01D7DD9-2299-BAF4-FBEE-677FE83914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174D3A-3DB0-482E-81E2-35B0248A0BEF}" type="datetime1">
              <a:rPr lang="en-US" smtClean="0"/>
              <a:t>6/21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823BED-A1E6-47D8-8252-B965507074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50E315-86A2-DD07-4808-84CB0A23C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E24471E-805E-19FA-067D-3B3C3E98F1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46181"/>
            <a:ext cx="9347200" cy="108784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text here. Increase or decrease font size if needed. Bold key information.</a:t>
            </a:r>
          </a:p>
        </p:txBody>
      </p:sp>
      <p:sp>
        <p:nvSpPr>
          <p:cNvPr id="17" name="Chart Placeholder 17">
            <a:extLst>
              <a:ext uri="{FF2B5EF4-FFF2-40B4-BE49-F238E27FC236}">
                <a16:creationId xmlns:a16="http://schemas.microsoft.com/office/drawing/2014/main" id="{3A765986-F4E8-4A4B-635F-04F7CCED8569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470718" y="2235443"/>
            <a:ext cx="7504882" cy="3867448"/>
          </a:xfrm>
        </p:spPr>
        <p:txBody>
          <a:bodyPr bIns="1188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live data. Edit the automatically </a:t>
            </a:r>
            <a:br>
              <a:rPr lang="en-US"/>
            </a:br>
            <a:r>
              <a:rPr lang="en-US"/>
              <a:t>generated spreadsheet to change data points on the chart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B0C029B-4C15-8ACB-6E2D-9D2EDFA85DF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58163" y="2554009"/>
            <a:ext cx="3562350" cy="3538816"/>
          </a:xfrm>
        </p:spPr>
        <p:txBody>
          <a:bodyPr anchor="t"/>
          <a:lstStyle>
            <a:lvl1pPr>
              <a:defRPr sz="24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EAA3E97-E3E2-FC73-DE33-D06DEBCB9E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58160"/>
            <a:ext cx="9347200" cy="6578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06901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ve Data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94F16C8-7DD2-9DE5-3A88-0CA7139905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1516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94F16C8-7DD2-9DE5-3A88-0CA7139905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: Top Corners Rounded 12">
            <a:extLst>
              <a:ext uri="{FF2B5EF4-FFF2-40B4-BE49-F238E27FC236}">
                <a16:creationId xmlns:a16="http://schemas.microsoft.com/office/drawing/2014/main" id="{8EC1BB50-B9AC-2B48-16F9-AA355255605D}"/>
              </a:ext>
            </a:extLst>
          </p:cNvPr>
          <p:cNvSpPr>
            <a:spLocks/>
          </p:cNvSpPr>
          <p:nvPr/>
        </p:nvSpPr>
        <p:spPr>
          <a:xfrm>
            <a:off x="4490720" y="1196975"/>
            <a:ext cx="7244079" cy="4895849"/>
          </a:xfrm>
          <a:prstGeom prst="round2SameRect">
            <a:avLst>
              <a:gd name="adj1" fmla="val 0"/>
              <a:gd name="adj2" fmla="val 9778"/>
            </a:avLst>
          </a:prstGeom>
          <a:solidFill>
            <a:schemeClr val="bg1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0DF76-1202-4248-AA52-1A6EDB3C1D47}" type="datetime1">
              <a:rPr lang="en-US" smtClean="0"/>
              <a:t>6/21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3C8A52-6867-4192-3618-17366DB5B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hart Placeholder 17">
            <a:extLst>
              <a:ext uri="{FF2B5EF4-FFF2-40B4-BE49-F238E27FC236}">
                <a16:creationId xmlns:a16="http://schemas.microsoft.com/office/drawing/2014/main" id="{C12B3CDC-586B-C46D-E41E-ECFDB30148F4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4693920" y="2267187"/>
            <a:ext cx="6815551" cy="3393837"/>
          </a:xfrm>
        </p:spPr>
        <p:txBody>
          <a:bodyPr bIns="1188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live data. Edit the automatically generated spreadsheet to change data points on the chart.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3973636-DA52-D6D1-E85D-B94D3EDC2EF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57200" y="1196975"/>
            <a:ext cx="3759200" cy="4787900"/>
          </a:xfrm>
        </p:spPr>
        <p:txBody>
          <a:bodyPr anchor="t"/>
          <a:lstStyle>
            <a:lvl1pPr>
              <a:defRPr sz="24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61439504-33E7-4AF3-3625-DFCD0FB1965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490720" y="1196976"/>
            <a:ext cx="7244079" cy="823912"/>
          </a:xfrm>
          <a:solidFill>
            <a:schemeClr val="accent1"/>
          </a:solidFill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subtitle text</a:t>
            </a: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2866F72-FCA1-BC72-7FB4-112C0E1657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1516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2866F72-FCA1-BC72-7FB4-112C0E1657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63400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&amp; Tex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665BC52-DE95-E90C-5967-C3152DD8B5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4863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665BC52-DE95-E90C-5967-C3152DD8B5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02CF4CB-670C-72C3-CAEB-B093F04C9F6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5651638 w 12192000"/>
              <a:gd name="connsiteY1" fmla="*/ 0 h 6858000"/>
              <a:gd name="connsiteX2" fmla="*/ 6314542 w 12192000"/>
              <a:gd name="connsiteY2" fmla="*/ 4053363 h 6858000"/>
              <a:gd name="connsiteX3" fmla="*/ 7077258 w 12192000"/>
              <a:gd name="connsiteY3" fmla="*/ 4600845 h 6858000"/>
              <a:gd name="connsiteX4" fmla="*/ 12192000 w 12192000"/>
              <a:gd name="connsiteY4" fmla="*/ 3764070 h 6858000"/>
              <a:gd name="connsiteX5" fmla="*/ 12192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5651638" y="0"/>
                </a:lnTo>
                <a:lnTo>
                  <a:pt x="6314542" y="4053363"/>
                </a:lnTo>
                <a:cubicBezTo>
                  <a:pt x="6372007" y="4418004"/>
                  <a:pt x="6715749" y="4660401"/>
                  <a:pt x="7077258" y="4600845"/>
                </a:cubicBezTo>
                <a:lnTo>
                  <a:pt x="12192000" y="376407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1440000" tIns="1332000" rIns="7200000" anchor="ctr" anchorCtr="0">
            <a:noAutofit/>
          </a:bodyPr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on the icon to add an image in the background placeholder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59080EF-4B52-C15A-088B-3C0819D6BC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A3F7DB-DF03-4681-AF6C-184A87C6F3CD}" type="datetime1">
              <a:rPr lang="en-US" smtClean="0"/>
              <a:pPr/>
              <a:t>6/21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D7ACAD-2B59-ADA0-5CD1-80056C11E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E732E4F-ABEB-7E8A-CF3A-F11A54F4E3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24649" y="800100"/>
            <a:ext cx="5010151" cy="1810097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lace paragraph text here. Increase or decrease font size as needed. Use bolded text and color to highlight key information. </a:t>
            </a:r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A9C4BF7A-2213-C9C2-F5FA-2D5E64B974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24649" y="2610197"/>
            <a:ext cx="5010151" cy="617786"/>
          </a:xfrm>
        </p:spPr>
        <p:txBody>
          <a:bodyPr/>
          <a:lstStyle>
            <a:lvl1pPr marL="0" indent="0" rtl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peaker’s name, job title &amp; organiz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B1BF76-4071-9A90-E503-DEF1530088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A92104E-AF1B-44FD-0122-C27B0FC9849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22361" y="6294409"/>
            <a:ext cx="1012439" cy="4108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0330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Image &amp; Tex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14274A48-82F7-3046-88BE-69C4B5A2EE3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828115 h 6858000"/>
              <a:gd name="connsiteX3" fmla="*/ 4484160 w 12192000"/>
              <a:gd name="connsiteY3" fmla="*/ 2974987 h 6858000"/>
              <a:gd name="connsiteX4" fmla="*/ 4045321 w 12192000"/>
              <a:gd name="connsiteY4" fmla="*/ 3752664 h 6858000"/>
              <a:gd name="connsiteX5" fmla="*/ 4910253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828115"/>
                </a:lnTo>
                <a:lnTo>
                  <a:pt x="4484160" y="2974987"/>
                </a:lnTo>
                <a:cubicBezTo>
                  <a:pt x="4148228" y="3068556"/>
                  <a:pt x="3951753" y="3416733"/>
                  <a:pt x="4045321" y="3752664"/>
                </a:cubicBezTo>
                <a:lnTo>
                  <a:pt x="491025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0" bIns="4644000" anchor="ctr" anchorCtr="0"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on the icon to add a background image into the placeholder.</a:t>
            </a:r>
          </a:p>
        </p:txBody>
      </p:sp>
      <p:sp>
        <p:nvSpPr>
          <p:cNvPr id="25" name="Text Placeholder 34">
            <a:extLst>
              <a:ext uri="{FF2B5EF4-FFF2-40B4-BE49-F238E27FC236}">
                <a16:creationId xmlns:a16="http://schemas.microsoft.com/office/drawing/2014/main" id="{BAFCB53A-47A1-AE5F-92FA-8FE1A72B28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78400" y="4077090"/>
            <a:ext cx="6756399" cy="2015735"/>
          </a:xfrm>
        </p:spPr>
        <p:txBody>
          <a:bodyPr lIns="72000" rIns="0"/>
          <a:lstStyle>
            <a:lvl1pPr marL="0" indent="0" algn="r">
              <a:spcBef>
                <a:spcPts val="0"/>
              </a:spcBef>
              <a:buNone/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paragraph text here. Increase or decrease font size as needed. Use bolded text and color to highlight key information. </a:t>
            </a:r>
          </a:p>
        </p:txBody>
      </p:sp>
      <p:sp>
        <p:nvSpPr>
          <p:cNvPr id="26" name="Text Placeholder 40">
            <a:extLst>
              <a:ext uri="{FF2B5EF4-FFF2-40B4-BE49-F238E27FC236}">
                <a16:creationId xmlns:a16="http://schemas.microsoft.com/office/drawing/2014/main" id="{8F71D575-78C9-53F6-473F-A3D9DAC534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24600" y="3046576"/>
            <a:ext cx="5410199" cy="1030513"/>
          </a:xfrm>
        </p:spPr>
        <p:txBody>
          <a:bodyPr lIns="72000" rIns="0" bIns="144000" anchor="b" anchorCtr="0"/>
          <a:lstStyle>
            <a:lvl1pPr marL="0" indent="0" algn="r">
              <a:spcBef>
                <a:spcPts val="0"/>
              </a:spcBef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a key highlight here. </a:t>
            </a:r>
            <a:br>
              <a:rPr lang="en-US"/>
            </a:br>
            <a:r>
              <a:rPr lang="en-US"/>
              <a:t>Keep the text short. 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15CADCC-E6C6-320E-C35F-689078EC75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6/21/23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E9526DA-EAA0-CEC5-1295-29B2279A4C2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C174345-0D53-3EB4-FAC4-9143C33935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5058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1E96A6B-5B0D-F43D-8276-ADD5E8AE09D7}"/>
              </a:ext>
            </a:extLst>
          </p:cNvPr>
          <p:cNvSpPr/>
          <p:nvPr userDrawn="1"/>
        </p:nvSpPr>
        <p:spPr>
          <a:xfrm>
            <a:off x="0" y="0"/>
            <a:ext cx="12192001" cy="6858002"/>
          </a:xfrm>
          <a:custGeom>
            <a:avLst/>
            <a:gdLst>
              <a:gd name="connsiteX0" fmla="*/ 12192000 w 12192001"/>
              <a:gd name="connsiteY0" fmla="*/ 2752968 h 6858002"/>
              <a:gd name="connsiteX1" fmla="*/ 12192001 w 12192001"/>
              <a:gd name="connsiteY1" fmla="*/ 2752968 h 6858002"/>
              <a:gd name="connsiteX2" fmla="*/ 12192001 w 12192001"/>
              <a:gd name="connsiteY2" fmla="*/ 6858002 h 6858002"/>
              <a:gd name="connsiteX3" fmla="*/ 4930076 w 12192001"/>
              <a:gd name="connsiteY3" fmla="*/ 6858001 h 6858002"/>
              <a:gd name="connsiteX4" fmla="*/ 4930077 w 12192001"/>
              <a:gd name="connsiteY4" fmla="*/ 6858000 h 6858002"/>
              <a:gd name="connsiteX5" fmla="*/ 12192000 w 12192001"/>
              <a:gd name="connsiteY5" fmla="*/ 6858000 h 6858002"/>
              <a:gd name="connsiteX6" fmla="*/ 0 w 12192001"/>
              <a:gd name="connsiteY6" fmla="*/ 0 h 6858002"/>
              <a:gd name="connsiteX7" fmla="*/ 12192000 w 12192001"/>
              <a:gd name="connsiteY7" fmla="*/ 0 h 6858002"/>
              <a:gd name="connsiteX8" fmla="*/ 12192000 w 12192001"/>
              <a:gd name="connsiteY8" fmla="*/ 2752968 h 6858002"/>
              <a:gd name="connsiteX9" fmla="*/ 7533925 w 12192001"/>
              <a:gd name="connsiteY9" fmla="*/ 1231090 h 6858002"/>
              <a:gd name="connsiteX10" fmla="*/ 7390037 w 12192001"/>
              <a:gd name="connsiteY10" fmla="*/ 1199353 h 6858002"/>
              <a:gd name="connsiteX11" fmla="*/ 7264676 w 12192001"/>
              <a:gd name="connsiteY11" fmla="*/ 1195577 h 6858002"/>
              <a:gd name="connsiteX12" fmla="*/ 6616276 w 12192001"/>
              <a:gd name="connsiteY12" fmla="*/ 1696019 h 6858002"/>
              <a:gd name="connsiteX13" fmla="*/ 4930077 w 12192001"/>
              <a:gd name="connsiteY13" fmla="*/ 6858000 h 6858002"/>
              <a:gd name="connsiteX14" fmla="*/ 0 w 12192001"/>
              <a:gd name="connsiteY14" fmla="*/ 6858000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1" h="6858002">
                <a:moveTo>
                  <a:pt x="12192000" y="2752968"/>
                </a:moveTo>
                <a:lnTo>
                  <a:pt x="12192001" y="2752968"/>
                </a:lnTo>
                <a:lnTo>
                  <a:pt x="12192001" y="6858002"/>
                </a:lnTo>
                <a:lnTo>
                  <a:pt x="4930076" y="6858001"/>
                </a:lnTo>
                <a:lnTo>
                  <a:pt x="4930077" y="6858000"/>
                </a:lnTo>
                <a:lnTo>
                  <a:pt x="12192000" y="6858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2752968"/>
                </a:lnTo>
                <a:lnTo>
                  <a:pt x="7533925" y="1231090"/>
                </a:lnTo>
                <a:cubicBezTo>
                  <a:pt x="7486243" y="1215454"/>
                  <a:pt x="7438072" y="1204971"/>
                  <a:pt x="7390037" y="1199353"/>
                </a:cubicBezTo>
                <a:cubicBezTo>
                  <a:pt x="7348005" y="1194436"/>
                  <a:pt x="7306078" y="1193242"/>
                  <a:pt x="7264676" y="1195577"/>
                </a:cubicBezTo>
                <a:cubicBezTo>
                  <a:pt x="6974857" y="1211916"/>
                  <a:pt x="6710722" y="1401105"/>
                  <a:pt x="6616276" y="1696019"/>
                </a:cubicBezTo>
                <a:lnTo>
                  <a:pt x="493007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0BBB068-ABD8-6FA3-2B10-341AE0C2AA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980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0BBB068-ABD8-6FA3-2B10-341AE0C2AA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CCF9361D-D7A2-112B-1204-8239B9A21DE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6000" y="451634"/>
            <a:ext cx="1828800" cy="745340"/>
          </a:xfrm>
          <a:prstGeom prst="rect">
            <a:avLst/>
          </a:prstGeom>
        </p:spPr>
      </p:pic>
      <p:pic>
        <p:nvPicPr>
          <p:cNvPr id="16" name="Picture 15" descr="A picture containing icon&#10;&#10;Description automatically generated">
            <a:extLst>
              <a:ext uri="{FF2B5EF4-FFF2-40B4-BE49-F238E27FC236}">
                <a16:creationId xmlns:a16="http://schemas.microsoft.com/office/drawing/2014/main" id="{FD3BC451-F935-D134-7E64-8FFC7AFB05C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6000" y="451634"/>
            <a:ext cx="1828800" cy="74534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57CBF33-48B4-A8F6-359B-B0F36CB027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7755" y="471831"/>
            <a:ext cx="5659917" cy="2100359"/>
          </a:xfrm>
        </p:spPr>
        <p:txBody>
          <a:bodyPr vert="horz"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A9ACD1-947C-4891-6344-5049B8DEC6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7755" y="2605114"/>
            <a:ext cx="5638800" cy="70787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D08B5EFD-53C4-4EB9-28F8-C98C9F7256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7755" y="3345913"/>
            <a:ext cx="5638800" cy="685800"/>
          </a:xfrm>
        </p:spPr>
        <p:txBody>
          <a:bodyPr anchor="ctr" anchorCtr="0"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ate &amp; other information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20DA6A39-1C0B-7809-7D89-5B99932EBBA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39096" y="1135033"/>
            <a:ext cx="7367200" cy="5722968"/>
          </a:xfrm>
          <a:custGeom>
            <a:avLst/>
            <a:gdLst>
              <a:gd name="connsiteX0" fmla="*/ 1827326 w 7367200"/>
              <a:gd name="connsiteY0" fmla="*/ 587241 h 5722968"/>
              <a:gd name="connsiteX1" fmla="*/ 1954927 w 7367200"/>
              <a:gd name="connsiteY1" fmla="*/ 606483 h 5722968"/>
              <a:gd name="connsiteX2" fmla="*/ 6452904 w 7367200"/>
              <a:gd name="connsiteY2" fmla="*/ 1747180 h 5722968"/>
              <a:gd name="connsiteX3" fmla="*/ 6452904 w 7367200"/>
              <a:gd name="connsiteY3" fmla="*/ 5722968 h 5722968"/>
              <a:gd name="connsiteX4" fmla="*/ 0 w 7367200"/>
              <a:gd name="connsiteY4" fmla="*/ 5722967 h 5722968"/>
              <a:gd name="connsiteX5" fmla="*/ 1180524 w 7367200"/>
              <a:gd name="connsiteY5" fmla="*/ 1066875 h 5722968"/>
              <a:gd name="connsiteX6" fmla="*/ 1827326 w 7367200"/>
              <a:gd name="connsiteY6" fmla="*/ 587241 h 5722968"/>
              <a:gd name="connsiteX7" fmla="*/ 7367199 w 7367200"/>
              <a:gd name="connsiteY7" fmla="*/ 0 h 5722968"/>
              <a:gd name="connsiteX8" fmla="*/ 7367200 w 7367200"/>
              <a:gd name="connsiteY8" fmla="*/ 0 h 5722968"/>
              <a:gd name="connsiteX9" fmla="*/ 7361847 w 7367200"/>
              <a:gd name="connsiteY9" fmla="*/ 61941 h 5722968"/>
              <a:gd name="connsiteX10" fmla="*/ 7361846 w 7367200"/>
              <a:gd name="connsiteY10" fmla="*/ 61941 h 5722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67200" h="5722968">
                <a:moveTo>
                  <a:pt x="1827326" y="587241"/>
                </a:moveTo>
                <a:cubicBezTo>
                  <a:pt x="1869630" y="589316"/>
                  <a:pt x="1912341" y="595633"/>
                  <a:pt x="1954927" y="606483"/>
                </a:cubicBezTo>
                <a:lnTo>
                  <a:pt x="6452904" y="1747180"/>
                </a:lnTo>
                <a:lnTo>
                  <a:pt x="6452904" y="5722968"/>
                </a:lnTo>
                <a:lnTo>
                  <a:pt x="0" y="5722967"/>
                </a:lnTo>
                <a:lnTo>
                  <a:pt x="1180524" y="1066875"/>
                </a:lnTo>
                <a:cubicBezTo>
                  <a:pt x="1254954" y="766000"/>
                  <a:pt x="1531192" y="572711"/>
                  <a:pt x="1827326" y="587241"/>
                </a:cubicBezTo>
                <a:close/>
                <a:moveTo>
                  <a:pt x="7367199" y="0"/>
                </a:moveTo>
                <a:lnTo>
                  <a:pt x="7367200" y="0"/>
                </a:lnTo>
                <a:lnTo>
                  <a:pt x="7361847" y="61941"/>
                </a:lnTo>
                <a:lnTo>
                  <a:pt x="7361846" y="6194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72000" tIns="1188000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on the icon to add a picture in the placehold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87DFA5-8439-0B30-5F93-147E40F8460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6/2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1168C-C30F-C805-DAF9-28A2829E8B2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DB45AD-838C-0944-121D-2E4465A4C28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24229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8D9D520-52E6-473B-91C6-89BE223C45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566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8D9D520-52E6-473B-91C6-89BE223C45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3B8C0D89-F882-D12F-C37F-7D67FBA25D95}"/>
              </a:ext>
            </a:extLst>
          </p:cNvPr>
          <p:cNvSpPr/>
          <p:nvPr userDrawn="1"/>
        </p:nvSpPr>
        <p:spPr>
          <a:xfrm rot="231770">
            <a:off x="-183314" y="-266557"/>
            <a:ext cx="7619599" cy="6130253"/>
          </a:xfrm>
          <a:custGeom>
            <a:avLst/>
            <a:gdLst>
              <a:gd name="connsiteX0" fmla="*/ 0 w 6997793"/>
              <a:gd name="connsiteY0" fmla="*/ 472501 h 5629987"/>
              <a:gd name="connsiteX1" fmla="*/ 6997793 w 6997793"/>
              <a:gd name="connsiteY1" fmla="*/ 0 h 5629987"/>
              <a:gd name="connsiteX2" fmla="*/ 6167799 w 6997793"/>
              <a:gd name="connsiteY2" fmla="*/ 5075039 h 5629987"/>
              <a:gd name="connsiteX3" fmla="*/ 5407171 w 6997793"/>
              <a:gd name="connsiteY3" fmla="*/ 5621022 h 5629987"/>
              <a:gd name="connsiteX4" fmla="*/ 291121 w 6997793"/>
              <a:gd name="connsiteY4" fmla="*/ 4784034 h 5629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97793" h="5629987">
                <a:moveTo>
                  <a:pt x="0" y="472501"/>
                </a:moveTo>
                <a:lnTo>
                  <a:pt x="6997793" y="0"/>
                </a:lnTo>
                <a:lnTo>
                  <a:pt x="6167799" y="5075039"/>
                </a:lnTo>
                <a:cubicBezTo>
                  <a:pt x="6110492" y="5438682"/>
                  <a:pt x="5767690" y="5680415"/>
                  <a:pt x="5407171" y="5621022"/>
                </a:cubicBezTo>
                <a:lnTo>
                  <a:pt x="291121" y="478403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9E1109-DE6C-78CC-D31F-519BDF685F2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7975600" y="2527301"/>
            <a:ext cx="3759200" cy="3565523"/>
          </a:xfrm>
          <a:prstGeom prst="rect">
            <a:avLst/>
          </a:prstGeom>
          <a:noFill/>
        </p:spPr>
        <p:txBody>
          <a:bodyPr lIns="0" tIns="180000" rIns="72000" bIns="72000" anchor="t" anchorCtr="0"/>
          <a:lstStyle>
            <a:lvl1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Add paragraph text here. Stay within the text box. Increase or decrease font size if needed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70B3A-B635-36CE-16DD-FDCBF89288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75600" y="468637"/>
            <a:ext cx="3759200" cy="2058664"/>
          </a:xfrm>
        </p:spPr>
        <p:txBody>
          <a:bodyPr vert="horz" anchor="b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8D9EDB11-206C-D99A-457B-7AB24C5F286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" y="0"/>
            <a:ext cx="6831274" cy="6557275"/>
          </a:xfrm>
          <a:custGeom>
            <a:avLst/>
            <a:gdLst>
              <a:gd name="connsiteX0" fmla="*/ 0 w 6719301"/>
              <a:gd name="connsiteY0" fmla="*/ 0 h 6449793"/>
              <a:gd name="connsiteX1" fmla="*/ 6719301 w 6719301"/>
              <a:gd name="connsiteY1" fmla="*/ 0 h 6449793"/>
              <a:gd name="connsiteX2" fmla="*/ 5918843 w 6719301"/>
              <a:gd name="connsiteY2" fmla="*/ 4894443 h 6449793"/>
              <a:gd name="connsiteX3" fmla="*/ 5205397 w 6719301"/>
              <a:gd name="connsiteY3" fmla="*/ 5406559 h 6449793"/>
              <a:gd name="connsiteX4" fmla="*/ 1 w 6719301"/>
              <a:gd name="connsiteY4" fmla="*/ 4554954 h 6449793"/>
              <a:gd name="connsiteX5" fmla="*/ 1 w 6719301"/>
              <a:gd name="connsiteY5" fmla="*/ 6449793 h 6449793"/>
              <a:gd name="connsiteX6" fmla="*/ 0 w 6719301"/>
              <a:gd name="connsiteY6" fmla="*/ 6449793 h 6449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19301" h="6449793">
                <a:moveTo>
                  <a:pt x="0" y="0"/>
                </a:moveTo>
                <a:lnTo>
                  <a:pt x="6719301" y="0"/>
                </a:lnTo>
                <a:lnTo>
                  <a:pt x="5918843" y="4894443"/>
                </a:lnTo>
                <a:cubicBezTo>
                  <a:pt x="5865090" y="5235529"/>
                  <a:pt x="5543553" y="5462267"/>
                  <a:pt x="5205397" y="5406559"/>
                </a:cubicBezTo>
                <a:lnTo>
                  <a:pt x="1" y="4554954"/>
                </a:lnTo>
                <a:lnTo>
                  <a:pt x="1" y="6449793"/>
                </a:lnTo>
                <a:lnTo>
                  <a:pt x="0" y="644979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1440000" rIns="1440000" bIns="1260000" anchor="ctr" anchorCtr="0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an image inside the placeholder</a:t>
            </a:r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94886E0-836A-22F6-9FBE-C11DED15EB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48566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94886E0-836A-22F6-9FBE-C11DED15EB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39EEA34D-DD16-AB58-C381-1780C1E27DF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6/21/23</a:t>
            </a:fld>
            <a:endParaRPr lang="en-US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38C6FABF-E488-5048-A75C-A68F473FE95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F269634-E41D-79A7-8181-B5B8A590210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7504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146165-85C2-0B6B-EE16-E711D43ECF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5001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146165-85C2-0B6B-EE16-E711D43EC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AB4D9B2-5E2D-42B5-217F-6832FCA3CDE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" y="2"/>
            <a:ext cx="6259356" cy="2492113"/>
          </a:xfrm>
          <a:custGeom>
            <a:avLst/>
            <a:gdLst>
              <a:gd name="connsiteX0" fmla="*/ 6083397 w 6259356"/>
              <a:gd name="connsiteY0" fmla="*/ 0 h 2492113"/>
              <a:gd name="connsiteX1" fmla="*/ 6251652 w 6259356"/>
              <a:gd name="connsiteY1" fmla="*/ 841021 h 2492113"/>
              <a:gd name="connsiteX2" fmla="*/ 5943693 w 6259356"/>
              <a:gd name="connsiteY2" fmla="*/ 1303017 h 2492113"/>
              <a:gd name="connsiteX3" fmla="*/ 2106825 w 6259356"/>
              <a:gd name="connsiteY3" fmla="*/ 2070622 h 2492113"/>
              <a:gd name="connsiteX4" fmla="*/ 2007803 w 6259356"/>
              <a:gd name="connsiteY4" fmla="*/ 1581395 h 2492113"/>
              <a:gd name="connsiteX5" fmla="*/ 1728107 w 6259356"/>
              <a:gd name="connsiteY5" fmla="*/ 1638007 h 2492113"/>
              <a:gd name="connsiteX6" fmla="*/ 1952729 w 6259356"/>
              <a:gd name="connsiteY6" fmla="*/ 1309298 h 2492113"/>
              <a:gd name="connsiteX7" fmla="*/ 1910158 w 6259356"/>
              <a:gd name="connsiteY7" fmla="*/ 1098973 h 2492113"/>
              <a:gd name="connsiteX8" fmla="*/ 1517537 w 6259356"/>
              <a:gd name="connsiteY8" fmla="*/ 1680627 h 2492113"/>
              <a:gd name="connsiteX9" fmla="*/ 1616336 w 6259356"/>
              <a:gd name="connsiteY9" fmla="*/ 2168749 h 2492113"/>
              <a:gd name="connsiteX10" fmla="*/ 1371553 w 6259356"/>
              <a:gd name="connsiteY10" fmla="*/ 2217720 h 2492113"/>
              <a:gd name="connsiteX11" fmla="*/ 1272403 w 6259356"/>
              <a:gd name="connsiteY11" fmla="*/ 1727864 h 2492113"/>
              <a:gd name="connsiteX12" fmla="*/ 992707 w 6259356"/>
              <a:gd name="connsiteY12" fmla="*/ 1784476 h 2492113"/>
              <a:gd name="connsiteX13" fmla="*/ 1217329 w 6259356"/>
              <a:gd name="connsiteY13" fmla="*/ 1455767 h 2492113"/>
              <a:gd name="connsiteX14" fmla="*/ 1174758 w 6259356"/>
              <a:gd name="connsiteY14" fmla="*/ 1245441 h 2492113"/>
              <a:gd name="connsiteX15" fmla="*/ 782137 w 6259356"/>
              <a:gd name="connsiteY15" fmla="*/ 1827097 h 2492113"/>
              <a:gd name="connsiteX16" fmla="*/ 881064 w 6259356"/>
              <a:gd name="connsiteY16" fmla="*/ 2315848 h 2492113"/>
              <a:gd name="connsiteX17" fmla="*/ 0 w 6259356"/>
              <a:gd name="connsiteY17" fmla="*/ 2492113 h 2492113"/>
              <a:gd name="connsiteX18" fmla="*/ 1 w 6259356"/>
              <a:gd name="connsiteY18" fmla="*/ 1 h 2492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259356" h="2492113">
                <a:moveTo>
                  <a:pt x="6083397" y="0"/>
                </a:moveTo>
                <a:lnTo>
                  <a:pt x="6251652" y="841021"/>
                </a:lnTo>
                <a:cubicBezTo>
                  <a:pt x="6294188" y="1053638"/>
                  <a:pt x="6156310" y="1260481"/>
                  <a:pt x="5943693" y="1303017"/>
                </a:cubicBezTo>
                <a:lnTo>
                  <a:pt x="2106825" y="2070622"/>
                </a:lnTo>
                <a:lnTo>
                  <a:pt x="2007803" y="1581395"/>
                </a:lnTo>
                <a:lnTo>
                  <a:pt x="1728107" y="1638007"/>
                </a:lnTo>
                <a:cubicBezTo>
                  <a:pt x="1701698" y="1485708"/>
                  <a:pt x="1801245" y="1340034"/>
                  <a:pt x="1952729" y="1309298"/>
                </a:cubicBezTo>
                <a:lnTo>
                  <a:pt x="1910158" y="1098973"/>
                </a:lnTo>
                <a:cubicBezTo>
                  <a:pt x="1642420" y="1153130"/>
                  <a:pt x="1467638" y="1412062"/>
                  <a:pt x="1517537" y="1680627"/>
                </a:cubicBezTo>
                <a:lnTo>
                  <a:pt x="1616336" y="2168749"/>
                </a:lnTo>
                <a:lnTo>
                  <a:pt x="1371553" y="2217720"/>
                </a:lnTo>
                <a:lnTo>
                  <a:pt x="1272403" y="1727864"/>
                </a:lnTo>
                <a:lnTo>
                  <a:pt x="992707" y="1784476"/>
                </a:lnTo>
                <a:cubicBezTo>
                  <a:pt x="966298" y="1632178"/>
                  <a:pt x="1065845" y="1486504"/>
                  <a:pt x="1217329" y="1455767"/>
                </a:cubicBezTo>
                <a:lnTo>
                  <a:pt x="1174758" y="1245441"/>
                </a:lnTo>
                <a:cubicBezTo>
                  <a:pt x="907019" y="1299598"/>
                  <a:pt x="732238" y="1558531"/>
                  <a:pt x="782137" y="1827097"/>
                </a:cubicBezTo>
                <a:lnTo>
                  <a:pt x="881064" y="2315848"/>
                </a:lnTo>
                <a:lnTo>
                  <a:pt x="0" y="2492113"/>
                </a:lnTo>
                <a:lnTo>
                  <a:pt x="1" y="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2B8548F-AFFB-9651-7775-AC40823DE63E}"/>
              </a:ext>
            </a:extLst>
          </p:cNvPr>
          <p:cNvSpPr/>
          <p:nvPr/>
        </p:nvSpPr>
        <p:spPr>
          <a:xfrm>
            <a:off x="7965943" y="4163340"/>
            <a:ext cx="4226058" cy="2694660"/>
          </a:xfrm>
          <a:custGeom>
            <a:avLst/>
            <a:gdLst>
              <a:gd name="connsiteX0" fmla="*/ 1796222 w 4226058"/>
              <a:gd name="connsiteY0" fmla="*/ 1004 h 2694660"/>
              <a:gd name="connsiteX1" fmla="*/ 2050718 w 4226058"/>
              <a:gd name="connsiteY1" fmla="*/ 60788 h 2694660"/>
              <a:gd name="connsiteX2" fmla="*/ 4226058 w 4226058"/>
              <a:gd name="connsiteY2" fmla="*/ 1327146 h 2694660"/>
              <a:gd name="connsiteX3" fmla="*/ 4226058 w 4226058"/>
              <a:gd name="connsiteY3" fmla="*/ 2694660 h 2694660"/>
              <a:gd name="connsiteX4" fmla="*/ 0 w 4226058"/>
              <a:gd name="connsiteY4" fmla="*/ 2694660 h 2694660"/>
              <a:gd name="connsiteX5" fmla="*/ 1439280 w 4226058"/>
              <a:gd name="connsiteY5" fmla="*/ 222274 h 2694660"/>
              <a:gd name="connsiteX6" fmla="*/ 1796222 w 4226058"/>
              <a:gd name="connsiteY6" fmla="*/ 1004 h 269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26058" h="2694660">
                <a:moveTo>
                  <a:pt x="1796222" y="1004"/>
                </a:moveTo>
                <a:cubicBezTo>
                  <a:pt x="1882159" y="-4760"/>
                  <a:pt x="1970681" y="14195"/>
                  <a:pt x="2050718" y="60788"/>
                </a:cubicBezTo>
                <a:lnTo>
                  <a:pt x="4226058" y="1327146"/>
                </a:lnTo>
                <a:lnTo>
                  <a:pt x="4226058" y="2694660"/>
                </a:lnTo>
                <a:lnTo>
                  <a:pt x="0" y="2694660"/>
                </a:lnTo>
                <a:lnTo>
                  <a:pt x="1439280" y="222274"/>
                </a:lnTo>
                <a:cubicBezTo>
                  <a:pt x="1516939" y="88877"/>
                  <a:pt x="1652992" y="10610"/>
                  <a:pt x="1796222" y="1004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A1D2515-1133-702D-793C-38102D58CE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2975" y="2492114"/>
            <a:ext cx="7032625" cy="2453274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3200"/>
            </a:lvl1pPr>
          </a:lstStyle>
          <a:p>
            <a:pPr lvl="0"/>
            <a:r>
              <a:rPr lang="en-US"/>
              <a:t>Add quotation here. Increase or decrease font size as needed. The fill color of the graphic on the left hand corner can be changed if needed.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CF81C14C-13B3-02BC-C609-390D5E1841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8688" y="5080000"/>
            <a:ext cx="7046912" cy="90487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name &amp; job title here, or any other additional information. Stay within the text box. Keep text short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5174CD-0298-F14B-1AF5-E136A49B5D5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6/21/23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A6CBD8D-625D-CA16-E18D-C630A4DF554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C281EC-11DB-6813-8205-A6039FE80AB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01A6DB5-BE7D-E9F1-094E-9B876F7F7D8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22361" y="6294409"/>
            <a:ext cx="1012439" cy="4108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4847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3AF2A11-3780-A445-AD7C-AB4174248E16}"/>
              </a:ext>
            </a:extLst>
          </p:cNvPr>
          <p:cNvSpPr/>
          <p:nvPr userDrawn="1"/>
        </p:nvSpPr>
        <p:spPr>
          <a:xfrm>
            <a:off x="0" y="0"/>
            <a:ext cx="570661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24F0EF8-DFEF-0DF3-BD7B-3B8B9760DECC}"/>
              </a:ext>
            </a:extLst>
          </p:cNvPr>
          <p:cNvSpPr/>
          <p:nvPr userDrawn="1"/>
        </p:nvSpPr>
        <p:spPr>
          <a:xfrm flipH="1">
            <a:off x="0" y="4163340"/>
            <a:ext cx="4226058" cy="2694660"/>
          </a:xfrm>
          <a:custGeom>
            <a:avLst/>
            <a:gdLst>
              <a:gd name="connsiteX0" fmla="*/ 1796222 w 4226058"/>
              <a:gd name="connsiteY0" fmla="*/ 1004 h 2694660"/>
              <a:gd name="connsiteX1" fmla="*/ 2050718 w 4226058"/>
              <a:gd name="connsiteY1" fmla="*/ 60788 h 2694660"/>
              <a:gd name="connsiteX2" fmla="*/ 4226058 w 4226058"/>
              <a:gd name="connsiteY2" fmla="*/ 1327146 h 2694660"/>
              <a:gd name="connsiteX3" fmla="*/ 4226058 w 4226058"/>
              <a:gd name="connsiteY3" fmla="*/ 2694660 h 2694660"/>
              <a:gd name="connsiteX4" fmla="*/ 0 w 4226058"/>
              <a:gd name="connsiteY4" fmla="*/ 2694660 h 2694660"/>
              <a:gd name="connsiteX5" fmla="*/ 1439280 w 4226058"/>
              <a:gd name="connsiteY5" fmla="*/ 222275 h 2694660"/>
              <a:gd name="connsiteX6" fmla="*/ 1796222 w 4226058"/>
              <a:gd name="connsiteY6" fmla="*/ 1004 h 269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26058" h="2694660">
                <a:moveTo>
                  <a:pt x="1796222" y="1004"/>
                </a:moveTo>
                <a:cubicBezTo>
                  <a:pt x="1882159" y="-4760"/>
                  <a:pt x="1970681" y="14195"/>
                  <a:pt x="2050718" y="60788"/>
                </a:cubicBezTo>
                <a:lnTo>
                  <a:pt x="4226058" y="1327146"/>
                </a:lnTo>
                <a:lnTo>
                  <a:pt x="4226058" y="2694660"/>
                </a:lnTo>
                <a:lnTo>
                  <a:pt x="0" y="2694660"/>
                </a:lnTo>
                <a:lnTo>
                  <a:pt x="1439280" y="222275"/>
                </a:lnTo>
                <a:cubicBezTo>
                  <a:pt x="1516939" y="88877"/>
                  <a:pt x="1652992" y="10610"/>
                  <a:pt x="1796222" y="1004"/>
                </a:cubicBezTo>
                <a:close/>
              </a:path>
            </a:pathLst>
          </a:cu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39FA10D-3843-8642-175B-E785843134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0391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39FA10D-3843-8642-175B-E78584313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4EC79D-6F5C-1B6A-061F-AD130559073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81659" y="2668661"/>
            <a:ext cx="4870269" cy="3424163"/>
          </a:xfrm>
          <a:prstGeom prst="rect">
            <a:avLst/>
          </a:prstGeom>
          <a:noFill/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itle 33">
            <a:extLst>
              <a:ext uri="{FF2B5EF4-FFF2-40B4-BE49-F238E27FC236}">
                <a16:creationId xmlns:a16="http://schemas.microsoft.com/office/drawing/2014/main" id="{8F40D756-D0CB-F85C-6BC6-DB5804486E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67125"/>
            <a:ext cx="4894728" cy="106177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355E53-AA10-AB27-6C8B-F74C4B3739C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28182" y="1217899"/>
            <a:ext cx="5706618" cy="4874925"/>
          </a:xfrm>
          <a:prstGeom prst="rect">
            <a:avLst/>
          </a:prstGeom>
          <a:solidFill>
            <a:schemeClr val="bg1"/>
          </a:solidFill>
        </p:spPr>
        <p:txBody>
          <a:bodyPr lIns="72000" bIns="1620000" anchor="ctr" anchorCtr="0"/>
          <a:lstStyle>
            <a:lvl1pPr marL="0" indent="0" algn="ctr" rtl="0"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on the relevant icon to add content</a:t>
            </a:r>
            <a:br>
              <a:rPr lang="en-US"/>
            </a:br>
            <a:r>
              <a:rPr lang="en-US"/>
              <a:t>(table, live data, smart art, etc)</a:t>
            </a:r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594A8751-DA97-7198-CEFC-A9D6796788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532964"/>
            <a:ext cx="4894728" cy="93541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key highlight here. Stay within text box. Keep text short.</a:t>
            </a:r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EE65609-FC4A-DC7D-A501-BB8FB6F8CC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30391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EE65609-FC4A-DC7D-A501-BB8FB6F8C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CD2FE6A-5B35-E298-04D2-CC034930F24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6/21/23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F7532A6-E844-5AAC-ECE5-FF7CCCBCA32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F6032D2-3177-9DD0-10E3-28D562D579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3066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&amp; Tex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01A85D9-BE8D-965F-EF30-A14258341197}"/>
              </a:ext>
            </a:extLst>
          </p:cNvPr>
          <p:cNvSpPr/>
          <p:nvPr/>
        </p:nvSpPr>
        <p:spPr>
          <a:xfrm>
            <a:off x="979581" y="2048934"/>
            <a:ext cx="10755218" cy="4043891"/>
          </a:xfrm>
          <a:prstGeom prst="roundRect">
            <a:avLst>
              <a:gd name="adj" fmla="val 7874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1612B55C-351E-D40B-84EF-9091069362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519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1612B55C-351E-D40B-84EF-9091069362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80E3D8D-4CD3-D35E-3682-0D17A5544E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76C128-FDEE-E8BE-A033-1547B36510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6D8000-A26D-4727-9736-C8E2FF5EE4DF}" type="datetime1">
              <a:rPr lang="en-US" smtClean="0"/>
              <a:t>6/21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6C02DD-C22B-8CB0-9491-72E2072E45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438FA3-4E88-6AB9-DCEA-16DA60BD1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5811FEF-DC3D-8759-E832-E0DC341F0FF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470400" y="3429000"/>
            <a:ext cx="7010400" cy="2336800"/>
          </a:xfrm>
          <a:prstGeom prst="rect">
            <a:avLst/>
          </a:prstGeom>
          <a:noFill/>
        </p:spPr>
        <p:txBody>
          <a:bodyPr anchor="ctr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Add paragraph text here. Increase or decrease font size as needed. Use bolded text and color to highlight key information.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AEF92DC-14E0-5DC2-7BD4-7A178EC546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0400" y="2343150"/>
            <a:ext cx="7010400" cy="108585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stay within text box. 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6BCDE84-7FE7-5230-64F0-8446DE7E712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201" y="1196977"/>
            <a:ext cx="3759200" cy="3935941"/>
          </a:xfrm>
          <a:custGeom>
            <a:avLst/>
            <a:gdLst>
              <a:gd name="connsiteX0" fmla="*/ 386746 w 3759200"/>
              <a:gd name="connsiteY0" fmla="*/ 0 h 3935941"/>
              <a:gd name="connsiteX1" fmla="*/ 3372454 w 3759200"/>
              <a:gd name="connsiteY1" fmla="*/ 0 h 3935941"/>
              <a:gd name="connsiteX2" fmla="*/ 3759200 w 3759200"/>
              <a:gd name="connsiteY2" fmla="*/ 386746 h 3935941"/>
              <a:gd name="connsiteX3" fmla="*/ 3759200 w 3759200"/>
              <a:gd name="connsiteY3" fmla="*/ 3549195 h 3935941"/>
              <a:gd name="connsiteX4" fmla="*/ 3372454 w 3759200"/>
              <a:gd name="connsiteY4" fmla="*/ 3935941 h 3935941"/>
              <a:gd name="connsiteX5" fmla="*/ 386746 w 3759200"/>
              <a:gd name="connsiteY5" fmla="*/ 3935941 h 3935941"/>
              <a:gd name="connsiteX6" fmla="*/ 0 w 3759200"/>
              <a:gd name="connsiteY6" fmla="*/ 3549195 h 3935941"/>
              <a:gd name="connsiteX7" fmla="*/ 0 w 3759200"/>
              <a:gd name="connsiteY7" fmla="*/ 386746 h 3935941"/>
              <a:gd name="connsiteX8" fmla="*/ 386746 w 3759200"/>
              <a:gd name="connsiteY8" fmla="*/ 0 h 3935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59200" h="3935941">
                <a:moveTo>
                  <a:pt x="386746" y="0"/>
                </a:moveTo>
                <a:lnTo>
                  <a:pt x="3372454" y="0"/>
                </a:lnTo>
                <a:cubicBezTo>
                  <a:pt x="3586048" y="0"/>
                  <a:pt x="3759200" y="173152"/>
                  <a:pt x="3759200" y="386746"/>
                </a:cubicBezTo>
                <a:lnTo>
                  <a:pt x="3759200" y="3549195"/>
                </a:lnTo>
                <a:cubicBezTo>
                  <a:pt x="3759200" y="3762789"/>
                  <a:pt x="3586048" y="3935941"/>
                  <a:pt x="3372454" y="3935941"/>
                </a:cubicBezTo>
                <a:lnTo>
                  <a:pt x="386746" y="3935941"/>
                </a:lnTo>
                <a:cubicBezTo>
                  <a:pt x="173152" y="3935941"/>
                  <a:pt x="0" y="3762789"/>
                  <a:pt x="0" y="3549195"/>
                </a:cubicBezTo>
                <a:lnTo>
                  <a:pt x="0" y="386746"/>
                </a:lnTo>
                <a:cubicBezTo>
                  <a:pt x="0" y="173152"/>
                  <a:pt x="173152" y="0"/>
                  <a:pt x="386746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80000" tIns="720000" rIns="180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on the icon to add an image inside the placeholder.</a:t>
            </a: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D115845-2923-306D-97D6-4EF0BC50DC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47519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D115845-2923-306D-97D6-4EF0BC50DC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57249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2D65ACFC-72B6-93DC-F108-5479204054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0560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3" name="Object 22" hidden="1">
                        <a:extLst>
                          <a:ext uri="{FF2B5EF4-FFF2-40B4-BE49-F238E27FC236}">
                            <a16:creationId xmlns:a16="http://schemas.microsoft.com/office/drawing/2014/main" id="{2D65ACFC-72B6-93DC-F108-5479204054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8FB71BC-5AAE-13B2-2700-404426A7EF0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590812" y="0"/>
            <a:ext cx="6601188" cy="4126619"/>
          </a:xfrm>
          <a:custGeom>
            <a:avLst/>
            <a:gdLst>
              <a:gd name="connsiteX0" fmla="*/ 477465 w 6601188"/>
              <a:gd name="connsiteY0" fmla="*/ 0 h 4126619"/>
              <a:gd name="connsiteX1" fmla="*/ 6601188 w 6601188"/>
              <a:gd name="connsiteY1" fmla="*/ 0 h 4126619"/>
              <a:gd name="connsiteX2" fmla="*/ 6601188 w 6601188"/>
              <a:gd name="connsiteY2" fmla="*/ 4126619 h 4126619"/>
              <a:gd name="connsiteX3" fmla="*/ 449723 w 6601188"/>
              <a:gd name="connsiteY3" fmla="*/ 2729174 h 4126619"/>
              <a:gd name="connsiteX4" fmla="*/ 14476 w 6601188"/>
              <a:gd name="connsiteY4" fmla="*/ 2038045 h 4126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01188" h="4126619">
                <a:moveTo>
                  <a:pt x="477465" y="0"/>
                </a:moveTo>
                <a:lnTo>
                  <a:pt x="6601188" y="0"/>
                </a:lnTo>
                <a:lnTo>
                  <a:pt x="6601188" y="4126619"/>
                </a:lnTo>
                <a:lnTo>
                  <a:pt x="449723" y="2729174"/>
                </a:lnTo>
                <a:cubicBezTo>
                  <a:pt x="138683" y="2658514"/>
                  <a:pt x="-56184" y="2349085"/>
                  <a:pt x="14476" y="203804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bIns="144000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marL="228600" lvl="0" indent="-228600" algn="ctr"/>
            <a:r>
              <a:rPr lang="en-US"/>
              <a:t>Click on the icon to add an image </a:t>
            </a:r>
            <a:br>
              <a:rPr lang="en-US"/>
            </a:br>
            <a:r>
              <a:rPr lang="en-US"/>
              <a:t>inside the placeholder.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9E0B7B9-CF36-AE90-DAEB-BB64374DC6DC}"/>
              </a:ext>
            </a:extLst>
          </p:cNvPr>
          <p:cNvSpPr/>
          <p:nvPr userDrawn="1"/>
        </p:nvSpPr>
        <p:spPr>
          <a:xfrm rot="797122">
            <a:off x="5933280" y="3734926"/>
            <a:ext cx="6445630" cy="3919944"/>
          </a:xfrm>
          <a:custGeom>
            <a:avLst/>
            <a:gdLst>
              <a:gd name="connsiteX0" fmla="*/ 425527 w 6445630"/>
              <a:gd name="connsiteY0" fmla="*/ 10827 h 3919944"/>
              <a:gd name="connsiteX1" fmla="*/ 532932 w 6445630"/>
              <a:gd name="connsiteY1" fmla="*/ 0 h 3919944"/>
              <a:gd name="connsiteX2" fmla="*/ 5879413 w 6445630"/>
              <a:gd name="connsiteY2" fmla="*/ 0 h 3919944"/>
              <a:gd name="connsiteX3" fmla="*/ 6445630 w 6445630"/>
              <a:gd name="connsiteY3" fmla="*/ 2398000 h 3919944"/>
              <a:gd name="connsiteX4" fmla="*/ 0 w 6445630"/>
              <a:gd name="connsiteY4" fmla="*/ 3919944 h 3919944"/>
              <a:gd name="connsiteX5" fmla="*/ 1 w 6445630"/>
              <a:gd name="connsiteY5" fmla="*/ 532931 h 3919944"/>
              <a:gd name="connsiteX6" fmla="*/ 425527 w 6445630"/>
              <a:gd name="connsiteY6" fmla="*/ 10827 h 3919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45630" h="3919944">
                <a:moveTo>
                  <a:pt x="425527" y="10827"/>
                </a:moveTo>
                <a:cubicBezTo>
                  <a:pt x="460220" y="3728"/>
                  <a:pt x="496140" y="0"/>
                  <a:pt x="532932" y="0"/>
                </a:cubicBezTo>
                <a:lnTo>
                  <a:pt x="5879413" y="0"/>
                </a:lnTo>
                <a:lnTo>
                  <a:pt x="6445630" y="2398000"/>
                </a:lnTo>
                <a:lnTo>
                  <a:pt x="0" y="3919944"/>
                </a:lnTo>
                <a:lnTo>
                  <a:pt x="1" y="532931"/>
                </a:lnTo>
                <a:cubicBezTo>
                  <a:pt x="0" y="275392"/>
                  <a:pt x="182679" y="60521"/>
                  <a:pt x="425527" y="1082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356C22AB-3B43-6EFD-0FDF-DB1D485FF5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742403"/>
            <a:ext cx="4925028" cy="1146175"/>
          </a:xfrm>
          <a:solidFill>
            <a:schemeClr val="bg1"/>
          </a:solidFill>
          <a:effectLst/>
        </p:spPr>
        <p:txBody>
          <a:bodyPr lIns="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Press the Reset button to reset formatting.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0AC1B8AF-5177-2FEA-3EE6-4C6CCDEA632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3175248"/>
            <a:ext cx="4925028" cy="1146175"/>
          </a:xfrm>
          <a:solidFill>
            <a:schemeClr val="bg1"/>
          </a:solidFill>
          <a:effectLst/>
        </p:spPr>
        <p:txBody>
          <a:bodyPr lIns="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Press the Reset button to reset formatting.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4F03A9F8-67FD-3EA1-9A3A-516D4BA364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4608093"/>
            <a:ext cx="4925028" cy="1146175"/>
          </a:xfrm>
          <a:solidFill>
            <a:schemeClr val="bg1"/>
          </a:solidFill>
          <a:effectLst/>
        </p:spPr>
        <p:txBody>
          <a:bodyPr lIns="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Press the Reset button to reset formatting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823FE043-0EA6-DF86-294A-582B0DDA257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634874" y="5189571"/>
            <a:ext cx="5099925" cy="903253"/>
          </a:xfrm>
          <a:prstGeom prst="rect">
            <a:avLst/>
          </a:prstGeom>
          <a:noFill/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200">
                <a:solidFill>
                  <a:srgbClr val="EBF5FA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Add text here. Use bolded text and color to highlight key information.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ADEEED13-866C-CC97-1F97-2966553751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4874" y="4321422"/>
            <a:ext cx="5099925" cy="87033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xt highlight here. Keep text short and stay within text box.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76C128-FDEE-E8BE-A033-1547B36510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1431A-3138-4938-82DF-5814064CD5D0}" type="datetime1">
              <a:rPr lang="en-US" smtClean="0"/>
              <a:t>6/21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6C02DD-C22B-8CB0-9491-72E2072E45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438FA3-4E88-6AB9-DCEA-16DA60BD1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Title 32">
            <a:extLst>
              <a:ext uri="{FF2B5EF4-FFF2-40B4-BE49-F238E27FC236}">
                <a16:creationId xmlns:a16="http://schemas.microsoft.com/office/drawing/2014/main" id="{3F9EBE14-C9D1-3F8F-DA67-C2AA0BB8D0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6585"/>
            <a:ext cx="4925028" cy="112598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75FD96A-137F-AB9B-EBB3-D78B3976A12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22361" y="6294409"/>
            <a:ext cx="1012439" cy="4108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93774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780DF6FD-8F9F-0E50-6F87-6F3AC0D819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0113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780DF6FD-8F9F-0E50-6F87-6F3AC0D819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E53F-0D55-4C97-8D37-B5A18BE5B11A}" type="datetime1">
              <a:rPr lang="en-US" smtClean="0"/>
              <a:t>6/21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3C8A52-6867-4192-3618-17366DB5B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117DEB3-E5ED-B0BD-7F6D-3A157D663A81}"/>
              </a:ext>
            </a:extLst>
          </p:cNvPr>
          <p:cNvSpPr/>
          <p:nvPr userDrawn="1"/>
        </p:nvSpPr>
        <p:spPr>
          <a:xfrm>
            <a:off x="6186487" y="1196975"/>
            <a:ext cx="5548312" cy="48958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7F12E80-72C9-320E-8FF9-F9C189F564CB}"/>
              </a:ext>
            </a:extLst>
          </p:cNvPr>
          <p:cNvSpPr>
            <a:spLocks/>
          </p:cNvSpPr>
          <p:nvPr userDrawn="1"/>
        </p:nvSpPr>
        <p:spPr>
          <a:xfrm>
            <a:off x="6369343" y="1196975"/>
            <a:ext cx="5365457" cy="1540093"/>
          </a:xfrm>
          <a:custGeom>
            <a:avLst/>
            <a:gdLst>
              <a:gd name="connsiteX0" fmla="*/ 0 w 5365457"/>
              <a:gd name="connsiteY0" fmla="*/ 0 h 1540093"/>
              <a:gd name="connsiteX1" fmla="*/ 5365457 w 5365457"/>
              <a:gd name="connsiteY1" fmla="*/ 0 h 1540093"/>
              <a:gd name="connsiteX2" fmla="*/ 5365457 w 5365457"/>
              <a:gd name="connsiteY2" fmla="*/ 886855 h 1540093"/>
              <a:gd name="connsiteX3" fmla="*/ 833003 w 5365457"/>
              <a:gd name="connsiteY3" fmla="*/ 1533735 h 1540093"/>
              <a:gd name="connsiteX4" fmla="*/ 214780 w 5365457"/>
              <a:gd name="connsiteY4" fmla="*/ 1146467 h 1540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65457" h="1540093">
                <a:moveTo>
                  <a:pt x="0" y="0"/>
                </a:moveTo>
                <a:lnTo>
                  <a:pt x="5365457" y="0"/>
                </a:lnTo>
                <a:lnTo>
                  <a:pt x="5365457" y="886855"/>
                </a:lnTo>
                <a:lnTo>
                  <a:pt x="833003" y="1533735"/>
                </a:lnTo>
                <a:cubicBezTo>
                  <a:pt x="539982" y="1575859"/>
                  <a:pt x="261359" y="1404398"/>
                  <a:pt x="214780" y="114646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Text Placeholder 33">
            <a:extLst>
              <a:ext uri="{FF2B5EF4-FFF2-40B4-BE49-F238E27FC236}">
                <a16:creationId xmlns:a16="http://schemas.microsoft.com/office/drawing/2014/main" id="{22817933-770E-54E9-D0CD-0FD064F6F68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13221" y="1318261"/>
            <a:ext cx="4769166" cy="769620"/>
          </a:xfrm>
        </p:spPr>
        <p:txBody>
          <a:bodyPr lIns="72000" anchor="ctr" anchorCtr="0"/>
          <a:lstStyle>
            <a:lvl1pPr marL="0" indent="0" algn="l" rtl="0">
              <a:spcBef>
                <a:spcPts val="0"/>
              </a:spcBef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here. Keep text short and within text box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591BFC67-875E-A5F2-C6C9-4E8A7B7639B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539696" y="2870521"/>
            <a:ext cx="4893704" cy="2920679"/>
          </a:xfrm>
          <a:prstGeom prst="rect">
            <a:avLst/>
          </a:prstGeom>
          <a:noFill/>
        </p:spPr>
        <p:txBody>
          <a:bodyPr anchor="ctr"/>
          <a:lstStyle>
            <a:lvl1pPr marL="342900" indent="-342900">
              <a:spcBef>
                <a:spcPts val="1000"/>
              </a:spcBef>
              <a:buFont typeface="Arial" panose="020B0604020202020204" pitchFamily="34" charset="0"/>
              <a:buChar char="•"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Add paragraph text here. Increase or decrease font size as needed. Use bolded text and color to highlight key information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DA7ADF7C-812A-6B07-F8C8-00BC8F725E6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199" y="1196975"/>
            <a:ext cx="5548316" cy="4895850"/>
          </a:xfrm>
          <a:custGeom>
            <a:avLst/>
            <a:gdLst>
              <a:gd name="connsiteX0" fmla="*/ 318132 w 5548316"/>
              <a:gd name="connsiteY0" fmla="*/ 0 h 4895850"/>
              <a:gd name="connsiteX1" fmla="*/ 404930 w 5548316"/>
              <a:gd name="connsiteY1" fmla="*/ 0 h 4895850"/>
              <a:gd name="connsiteX2" fmla="*/ 5143390 w 5548316"/>
              <a:gd name="connsiteY2" fmla="*/ 0 h 4895850"/>
              <a:gd name="connsiteX3" fmla="*/ 5230180 w 5548316"/>
              <a:gd name="connsiteY3" fmla="*/ 0 h 4895850"/>
              <a:gd name="connsiteX4" fmla="*/ 5548312 w 5548316"/>
              <a:gd name="connsiteY4" fmla="*/ 318132 h 4895850"/>
              <a:gd name="connsiteX5" fmla="*/ 5548312 w 5548316"/>
              <a:gd name="connsiteY5" fmla="*/ 860559 h 4895850"/>
              <a:gd name="connsiteX6" fmla="*/ 5548316 w 5548316"/>
              <a:gd name="connsiteY6" fmla="*/ 860643 h 4895850"/>
              <a:gd name="connsiteX7" fmla="*/ 5548316 w 5548316"/>
              <a:gd name="connsiteY7" fmla="*/ 4035208 h 4895850"/>
              <a:gd name="connsiteX8" fmla="*/ 5548312 w 5548316"/>
              <a:gd name="connsiteY8" fmla="*/ 4035292 h 4895850"/>
              <a:gd name="connsiteX9" fmla="*/ 5548312 w 5548316"/>
              <a:gd name="connsiteY9" fmla="*/ 4577718 h 4895850"/>
              <a:gd name="connsiteX10" fmla="*/ 5230180 w 5548316"/>
              <a:gd name="connsiteY10" fmla="*/ 4895850 h 4895850"/>
              <a:gd name="connsiteX11" fmla="*/ 5143390 w 5548316"/>
              <a:gd name="connsiteY11" fmla="*/ 4895850 h 4895850"/>
              <a:gd name="connsiteX12" fmla="*/ 404930 w 5548316"/>
              <a:gd name="connsiteY12" fmla="*/ 4895850 h 4895850"/>
              <a:gd name="connsiteX13" fmla="*/ 318132 w 5548316"/>
              <a:gd name="connsiteY13" fmla="*/ 4895850 h 4895850"/>
              <a:gd name="connsiteX14" fmla="*/ 0 w 5548316"/>
              <a:gd name="connsiteY14" fmla="*/ 4577718 h 4895850"/>
              <a:gd name="connsiteX15" fmla="*/ 0 w 5548316"/>
              <a:gd name="connsiteY15" fmla="*/ 318132 h 4895850"/>
              <a:gd name="connsiteX16" fmla="*/ 318132 w 5548316"/>
              <a:gd name="connsiteY16" fmla="*/ 0 h 489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548316" h="4895850">
                <a:moveTo>
                  <a:pt x="318132" y="0"/>
                </a:moveTo>
                <a:lnTo>
                  <a:pt x="404930" y="0"/>
                </a:lnTo>
                <a:lnTo>
                  <a:pt x="5143390" y="0"/>
                </a:lnTo>
                <a:lnTo>
                  <a:pt x="5230180" y="0"/>
                </a:lnTo>
                <a:cubicBezTo>
                  <a:pt x="5405879" y="0"/>
                  <a:pt x="5548312" y="142433"/>
                  <a:pt x="5548312" y="318132"/>
                </a:cubicBezTo>
                <a:lnTo>
                  <a:pt x="5548312" y="860559"/>
                </a:lnTo>
                <a:lnTo>
                  <a:pt x="5548316" y="860643"/>
                </a:lnTo>
                <a:lnTo>
                  <a:pt x="5548316" y="4035208"/>
                </a:lnTo>
                <a:lnTo>
                  <a:pt x="5548312" y="4035292"/>
                </a:lnTo>
                <a:lnTo>
                  <a:pt x="5548312" y="4577718"/>
                </a:lnTo>
                <a:cubicBezTo>
                  <a:pt x="5548312" y="4753417"/>
                  <a:pt x="5405879" y="4895850"/>
                  <a:pt x="5230180" y="4895850"/>
                </a:cubicBezTo>
                <a:lnTo>
                  <a:pt x="5143390" y="4895850"/>
                </a:lnTo>
                <a:lnTo>
                  <a:pt x="404930" y="4895850"/>
                </a:lnTo>
                <a:lnTo>
                  <a:pt x="318132" y="4895850"/>
                </a:lnTo>
                <a:cubicBezTo>
                  <a:pt x="142433" y="4895850"/>
                  <a:pt x="0" y="4753417"/>
                  <a:pt x="0" y="4577718"/>
                </a:cubicBezTo>
                <a:lnTo>
                  <a:pt x="0" y="318132"/>
                </a:lnTo>
                <a:cubicBezTo>
                  <a:pt x="0" y="142433"/>
                  <a:pt x="142433" y="0"/>
                  <a:pt x="318132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vert="horz" wrap="square" lIns="180000" tIns="1080000" rIns="180000" bIns="72000" rtlCol="0">
            <a:noAutofit/>
          </a:bodyPr>
          <a:lstStyle>
            <a:lvl1pPr marL="0" indent="0" algn="ctr">
              <a:spcBef>
                <a:spcPts val="0"/>
              </a:spcBef>
              <a:buNone/>
              <a:defRPr lang="en-GB"/>
            </a:lvl1pPr>
          </a:lstStyle>
          <a:p>
            <a:pPr marL="228600" lvl="0" indent="-228600" algn="ctr"/>
            <a:r>
              <a:rPr lang="en-US"/>
              <a:t>Click on the icon to add an image </a:t>
            </a:r>
            <a:br>
              <a:rPr lang="en-US"/>
            </a:br>
            <a:r>
              <a:rPr lang="en-US"/>
              <a:t>inside the placeholder.</a:t>
            </a: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32C5353-E580-7872-5BE5-0A78743E20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70113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32C5353-E580-7872-5BE5-0A78743E20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829249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&amp; Tex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72E055F-EF83-A6FD-82BE-2FA9B0A8C6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961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72E055F-EF83-A6FD-82BE-2FA9B0A8C6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C84D14D-E971-AA0D-5624-5BE503755299}"/>
              </a:ext>
            </a:extLst>
          </p:cNvPr>
          <p:cNvSpPr/>
          <p:nvPr/>
        </p:nvSpPr>
        <p:spPr>
          <a:xfrm>
            <a:off x="4261646" y="2349499"/>
            <a:ext cx="3668708" cy="3743326"/>
          </a:xfrm>
          <a:prstGeom prst="roundRect">
            <a:avLst>
              <a:gd name="adj" fmla="val 11619"/>
            </a:avLst>
          </a:prstGeom>
          <a:solidFill>
            <a:schemeClr val="accent1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701B70F-1298-7266-B028-5010CAFB6C05}"/>
              </a:ext>
            </a:extLst>
          </p:cNvPr>
          <p:cNvSpPr/>
          <p:nvPr/>
        </p:nvSpPr>
        <p:spPr>
          <a:xfrm>
            <a:off x="8066092" y="2349499"/>
            <a:ext cx="3668708" cy="3743326"/>
          </a:xfrm>
          <a:prstGeom prst="roundRect">
            <a:avLst>
              <a:gd name="adj" fmla="val 12881"/>
            </a:avLst>
          </a:prstGeom>
          <a:solidFill>
            <a:schemeClr val="accent3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0A67187-1E8A-FB5B-C3F8-AEE362083108}"/>
              </a:ext>
            </a:extLst>
          </p:cNvPr>
          <p:cNvSpPr/>
          <p:nvPr userDrawn="1"/>
        </p:nvSpPr>
        <p:spPr>
          <a:xfrm>
            <a:off x="457200" y="2349499"/>
            <a:ext cx="3668708" cy="3743326"/>
          </a:xfrm>
          <a:prstGeom prst="roundRect">
            <a:avLst>
              <a:gd name="adj" fmla="val 11619"/>
            </a:avLst>
          </a:prstGeom>
          <a:solidFill>
            <a:schemeClr val="tx2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0E3D8D-4CD3-D35E-3682-0D17A5544E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76C128-FDEE-E8BE-A033-1547B36510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63F2D-B2D0-498E-8344-4CCC2C98A076}" type="datetime1">
              <a:rPr lang="en-US" smtClean="0"/>
              <a:t>6/21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6C02DD-C22B-8CB0-9491-72E2072E45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438FA3-4E88-6AB9-DCEA-16DA60BD1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1B3C1A6A-BC28-982D-B0D3-96FB5274FEC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758958" y="1208012"/>
            <a:ext cx="2282974" cy="2282974"/>
          </a:xfrm>
          <a:custGeom>
            <a:avLst/>
            <a:gdLst>
              <a:gd name="connsiteX0" fmla="*/ 366286 w 2075978"/>
              <a:gd name="connsiteY0" fmla="*/ 0 h 2075977"/>
              <a:gd name="connsiteX1" fmla="*/ 1709693 w 2075978"/>
              <a:gd name="connsiteY1" fmla="*/ 0 h 2075977"/>
              <a:gd name="connsiteX2" fmla="*/ 2075978 w 2075978"/>
              <a:gd name="connsiteY2" fmla="*/ 366285 h 2075977"/>
              <a:gd name="connsiteX3" fmla="*/ 2075978 w 2075978"/>
              <a:gd name="connsiteY3" fmla="*/ 1709692 h 2075977"/>
              <a:gd name="connsiteX4" fmla="*/ 1709693 w 2075978"/>
              <a:gd name="connsiteY4" fmla="*/ 2075977 h 2075977"/>
              <a:gd name="connsiteX5" fmla="*/ 366286 w 2075978"/>
              <a:gd name="connsiteY5" fmla="*/ 2075977 h 2075977"/>
              <a:gd name="connsiteX6" fmla="*/ 0 w 2075978"/>
              <a:gd name="connsiteY6" fmla="*/ 1709692 h 2075977"/>
              <a:gd name="connsiteX7" fmla="*/ 0 w 2075978"/>
              <a:gd name="connsiteY7" fmla="*/ 366285 h 2075977"/>
              <a:gd name="connsiteX8" fmla="*/ 366286 w 2075978"/>
              <a:gd name="connsiteY8" fmla="*/ 0 h 2075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75978" h="2075977">
                <a:moveTo>
                  <a:pt x="366286" y="0"/>
                </a:moveTo>
                <a:lnTo>
                  <a:pt x="1709693" y="0"/>
                </a:lnTo>
                <a:cubicBezTo>
                  <a:pt x="1911987" y="0"/>
                  <a:pt x="2075978" y="163991"/>
                  <a:pt x="2075978" y="366285"/>
                </a:cubicBezTo>
                <a:lnTo>
                  <a:pt x="2075978" y="1709692"/>
                </a:lnTo>
                <a:cubicBezTo>
                  <a:pt x="2075978" y="1911986"/>
                  <a:pt x="1911987" y="2075977"/>
                  <a:pt x="1709693" y="2075977"/>
                </a:cubicBezTo>
                <a:lnTo>
                  <a:pt x="366286" y="2075977"/>
                </a:lnTo>
                <a:cubicBezTo>
                  <a:pt x="163991" y="2075977"/>
                  <a:pt x="0" y="1911986"/>
                  <a:pt x="0" y="1709692"/>
                </a:cubicBezTo>
                <a:lnTo>
                  <a:pt x="0" y="366285"/>
                </a:lnTo>
                <a:cubicBezTo>
                  <a:pt x="0" y="163991"/>
                  <a:pt x="163991" y="0"/>
                  <a:pt x="366286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08000" tIns="144000" rIns="108000">
            <a:noAutofit/>
          </a:bodyPr>
          <a:lstStyle>
            <a:lvl1pPr marL="0" indent="0" algn="ctr">
              <a:spcBef>
                <a:spcPts val="0"/>
              </a:spcBef>
              <a:buNone/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on the icon to add an image. 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BE2D3251-D80F-991F-EFE9-680F4847E3C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7201" y="4425476"/>
            <a:ext cx="3668706" cy="1559398"/>
          </a:xfrm>
          <a:prstGeom prst="rect">
            <a:avLst/>
          </a:prstGeom>
          <a:noFill/>
        </p:spPr>
        <p:txBody>
          <a:bodyPr lIns="108000" tIns="180000" rIns="108000" anchor="t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Add paragraph text here. Increase or decrease font size as needed. </a:t>
            </a: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B106B567-8B96-ADC4-FA33-E2F7F2A7196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954513" y="1208012"/>
            <a:ext cx="2282974" cy="2282974"/>
          </a:xfrm>
          <a:custGeom>
            <a:avLst/>
            <a:gdLst>
              <a:gd name="connsiteX0" fmla="*/ 366286 w 2075978"/>
              <a:gd name="connsiteY0" fmla="*/ 0 h 2075977"/>
              <a:gd name="connsiteX1" fmla="*/ 1709693 w 2075978"/>
              <a:gd name="connsiteY1" fmla="*/ 0 h 2075977"/>
              <a:gd name="connsiteX2" fmla="*/ 2075978 w 2075978"/>
              <a:gd name="connsiteY2" fmla="*/ 366285 h 2075977"/>
              <a:gd name="connsiteX3" fmla="*/ 2075978 w 2075978"/>
              <a:gd name="connsiteY3" fmla="*/ 1709692 h 2075977"/>
              <a:gd name="connsiteX4" fmla="*/ 1709693 w 2075978"/>
              <a:gd name="connsiteY4" fmla="*/ 2075977 h 2075977"/>
              <a:gd name="connsiteX5" fmla="*/ 366286 w 2075978"/>
              <a:gd name="connsiteY5" fmla="*/ 2075977 h 2075977"/>
              <a:gd name="connsiteX6" fmla="*/ 0 w 2075978"/>
              <a:gd name="connsiteY6" fmla="*/ 1709692 h 2075977"/>
              <a:gd name="connsiteX7" fmla="*/ 0 w 2075978"/>
              <a:gd name="connsiteY7" fmla="*/ 366285 h 2075977"/>
              <a:gd name="connsiteX8" fmla="*/ 366286 w 2075978"/>
              <a:gd name="connsiteY8" fmla="*/ 0 h 2075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75978" h="2075977">
                <a:moveTo>
                  <a:pt x="366286" y="0"/>
                </a:moveTo>
                <a:lnTo>
                  <a:pt x="1709693" y="0"/>
                </a:lnTo>
                <a:cubicBezTo>
                  <a:pt x="1911987" y="0"/>
                  <a:pt x="2075978" y="163991"/>
                  <a:pt x="2075978" y="366285"/>
                </a:cubicBezTo>
                <a:lnTo>
                  <a:pt x="2075978" y="1709692"/>
                </a:lnTo>
                <a:cubicBezTo>
                  <a:pt x="2075978" y="1911986"/>
                  <a:pt x="1911987" y="2075977"/>
                  <a:pt x="1709693" y="2075977"/>
                </a:cubicBezTo>
                <a:lnTo>
                  <a:pt x="366286" y="2075977"/>
                </a:lnTo>
                <a:cubicBezTo>
                  <a:pt x="163991" y="2075977"/>
                  <a:pt x="0" y="1911986"/>
                  <a:pt x="0" y="1709692"/>
                </a:cubicBezTo>
                <a:lnTo>
                  <a:pt x="0" y="366285"/>
                </a:lnTo>
                <a:cubicBezTo>
                  <a:pt x="0" y="163991"/>
                  <a:pt x="163991" y="0"/>
                  <a:pt x="366286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08000" tIns="144000" rIns="108000">
            <a:noAutofit/>
          </a:bodyPr>
          <a:lstStyle>
            <a:lvl1pPr marL="0" indent="0" algn="ctr">
              <a:spcBef>
                <a:spcPts val="0"/>
              </a:spcBef>
              <a:buNone/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on the icon to add an image. </a:t>
            </a:r>
          </a:p>
        </p:txBody>
      </p:sp>
      <p:sp>
        <p:nvSpPr>
          <p:cNvPr id="44" name="Text Placeholder 18">
            <a:extLst>
              <a:ext uri="{FF2B5EF4-FFF2-40B4-BE49-F238E27FC236}">
                <a16:creationId xmlns:a16="http://schemas.microsoft.com/office/drawing/2014/main" id="{23DF8FA6-8961-20A7-5B05-4C401DD5BC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1" y="3562350"/>
            <a:ext cx="3668706" cy="826991"/>
          </a:xfrm>
        </p:spPr>
        <p:txBody>
          <a:bodyPr lIns="108000" tIns="36000" rIns="108000" bIns="72000" anchor="b" anchorCtr="0"/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within box.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A1D162AC-C87B-D6F5-E02C-FB9CF32095C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50067" y="1208012"/>
            <a:ext cx="2282974" cy="2282974"/>
          </a:xfrm>
          <a:custGeom>
            <a:avLst/>
            <a:gdLst>
              <a:gd name="connsiteX0" fmla="*/ 366286 w 2075978"/>
              <a:gd name="connsiteY0" fmla="*/ 0 h 2075977"/>
              <a:gd name="connsiteX1" fmla="*/ 1709693 w 2075978"/>
              <a:gd name="connsiteY1" fmla="*/ 0 h 2075977"/>
              <a:gd name="connsiteX2" fmla="*/ 2075978 w 2075978"/>
              <a:gd name="connsiteY2" fmla="*/ 366285 h 2075977"/>
              <a:gd name="connsiteX3" fmla="*/ 2075978 w 2075978"/>
              <a:gd name="connsiteY3" fmla="*/ 1709692 h 2075977"/>
              <a:gd name="connsiteX4" fmla="*/ 1709693 w 2075978"/>
              <a:gd name="connsiteY4" fmla="*/ 2075977 h 2075977"/>
              <a:gd name="connsiteX5" fmla="*/ 366286 w 2075978"/>
              <a:gd name="connsiteY5" fmla="*/ 2075977 h 2075977"/>
              <a:gd name="connsiteX6" fmla="*/ 0 w 2075978"/>
              <a:gd name="connsiteY6" fmla="*/ 1709692 h 2075977"/>
              <a:gd name="connsiteX7" fmla="*/ 0 w 2075978"/>
              <a:gd name="connsiteY7" fmla="*/ 366285 h 2075977"/>
              <a:gd name="connsiteX8" fmla="*/ 366286 w 2075978"/>
              <a:gd name="connsiteY8" fmla="*/ 0 h 2075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75978" h="2075977">
                <a:moveTo>
                  <a:pt x="366286" y="0"/>
                </a:moveTo>
                <a:lnTo>
                  <a:pt x="1709693" y="0"/>
                </a:lnTo>
                <a:cubicBezTo>
                  <a:pt x="1911987" y="0"/>
                  <a:pt x="2075978" y="163991"/>
                  <a:pt x="2075978" y="366285"/>
                </a:cubicBezTo>
                <a:lnTo>
                  <a:pt x="2075978" y="1709692"/>
                </a:lnTo>
                <a:cubicBezTo>
                  <a:pt x="2075978" y="1911986"/>
                  <a:pt x="1911987" y="2075977"/>
                  <a:pt x="1709693" y="2075977"/>
                </a:cubicBezTo>
                <a:lnTo>
                  <a:pt x="366286" y="2075977"/>
                </a:lnTo>
                <a:cubicBezTo>
                  <a:pt x="163991" y="2075977"/>
                  <a:pt x="0" y="1911986"/>
                  <a:pt x="0" y="1709692"/>
                </a:cubicBezTo>
                <a:lnTo>
                  <a:pt x="0" y="366285"/>
                </a:lnTo>
                <a:cubicBezTo>
                  <a:pt x="0" y="163991"/>
                  <a:pt x="163991" y="0"/>
                  <a:pt x="366286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08000" tIns="144000" rIns="108000">
            <a:noAutofit/>
          </a:bodyPr>
          <a:lstStyle>
            <a:lvl1pPr marL="0" indent="0" algn="ctr">
              <a:spcBef>
                <a:spcPts val="0"/>
              </a:spcBef>
              <a:buNone/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on the icon to add an image. 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028A39DB-F1D6-A9B7-3CB3-3850A2941157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4261645" y="4425476"/>
            <a:ext cx="3668706" cy="1559398"/>
          </a:xfrm>
          <a:prstGeom prst="rect">
            <a:avLst/>
          </a:prstGeom>
          <a:noFill/>
        </p:spPr>
        <p:txBody>
          <a:bodyPr lIns="108000" tIns="180000" rIns="108000" anchor="t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Add paragraph text here. Increase or decrease font size as needed. </a:t>
            </a:r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37BB1E9C-5F20-F3BF-527E-58ADBCFC62A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61645" y="3562350"/>
            <a:ext cx="3668706" cy="826991"/>
          </a:xfrm>
        </p:spPr>
        <p:txBody>
          <a:bodyPr lIns="108000" tIns="36000" rIns="108000" bIns="72000" anchor="b" anchorCtr="0"/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within box.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A12030D6-BDE0-200F-AA00-2FAC0023229B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8066094" y="4425476"/>
            <a:ext cx="3668706" cy="1559398"/>
          </a:xfrm>
          <a:prstGeom prst="rect">
            <a:avLst/>
          </a:prstGeom>
          <a:noFill/>
        </p:spPr>
        <p:txBody>
          <a:bodyPr lIns="108000" tIns="180000" rIns="108000" anchor="t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Add paragraph text here. Increase or decrease font size as needed. </a:t>
            </a:r>
          </a:p>
        </p:txBody>
      </p:sp>
      <p:sp>
        <p:nvSpPr>
          <p:cNvPr id="48" name="Text Placeholder 18">
            <a:extLst>
              <a:ext uri="{FF2B5EF4-FFF2-40B4-BE49-F238E27FC236}">
                <a16:creationId xmlns:a16="http://schemas.microsoft.com/office/drawing/2014/main" id="{D054DC0E-5E39-9D87-7E5F-E276AD03DF8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66094" y="3562350"/>
            <a:ext cx="3668706" cy="826991"/>
          </a:xfrm>
        </p:spPr>
        <p:txBody>
          <a:bodyPr lIns="108000" tIns="36000" rIns="108000" bIns="72000" anchor="b" anchorCtr="0"/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within box.</a:t>
            </a:r>
          </a:p>
        </p:txBody>
      </p:sp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66561831-7640-8066-6C24-4B994BEA8D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961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66561831-7640-8066-6C24-4B994BEA8D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84037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&amp; Text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E389992-2A65-06B3-92CF-0CD1CC8B3D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586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E389992-2A65-06B3-92CF-0CD1CC8B3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C31887D-14D6-D267-55DF-432D3D7D4514}"/>
              </a:ext>
            </a:extLst>
          </p:cNvPr>
          <p:cNvSpPr/>
          <p:nvPr userDrawn="1"/>
        </p:nvSpPr>
        <p:spPr>
          <a:xfrm>
            <a:off x="1" y="1204101"/>
            <a:ext cx="7666433" cy="5653901"/>
          </a:xfrm>
          <a:custGeom>
            <a:avLst/>
            <a:gdLst>
              <a:gd name="connsiteX0" fmla="*/ 6161940 w 7666433"/>
              <a:gd name="connsiteY0" fmla="*/ 2 h 5653901"/>
              <a:gd name="connsiteX1" fmla="*/ 6559159 w 7666433"/>
              <a:gd name="connsiteY1" fmla="*/ 322651 h 5653901"/>
              <a:gd name="connsiteX2" fmla="*/ 7666433 w 7666433"/>
              <a:gd name="connsiteY2" fmla="*/ 5653900 h 5653901"/>
              <a:gd name="connsiteX3" fmla="*/ 0 w 7666433"/>
              <a:gd name="connsiteY3" fmla="*/ 5653901 h 5653901"/>
              <a:gd name="connsiteX4" fmla="*/ 0 w 7666433"/>
              <a:gd name="connsiteY4" fmla="*/ 1271403 h 5653901"/>
              <a:gd name="connsiteX5" fmla="*/ 6080368 w 7666433"/>
              <a:gd name="connsiteY5" fmla="*/ 8541 h 5653901"/>
              <a:gd name="connsiteX6" fmla="*/ 6161940 w 7666433"/>
              <a:gd name="connsiteY6" fmla="*/ 2 h 5653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66433" h="5653901">
                <a:moveTo>
                  <a:pt x="6161940" y="2"/>
                </a:moveTo>
                <a:cubicBezTo>
                  <a:pt x="6350274" y="-553"/>
                  <a:pt x="6519368" y="131066"/>
                  <a:pt x="6559159" y="322651"/>
                </a:cubicBezTo>
                <a:lnTo>
                  <a:pt x="7666433" y="5653900"/>
                </a:lnTo>
                <a:lnTo>
                  <a:pt x="0" y="5653901"/>
                </a:lnTo>
                <a:lnTo>
                  <a:pt x="0" y="1271403"/>
                </a:lnTo>
                <a:lnTo>
                  <a:pt x="6080368" y="8541"/>
                </a:lnTo>
                <a:cubicBezTo>
                  <a:pt x="6107737" y="2857"/>
                  <a:pt x="6135035" y="81"/>
                  <a:pt x="6161940" y="2"/>
                </a:cubicBezTo>
                <a:close/>
              </a:path>
            </a:pathLst>
          </a:custGeom>
          <a:solidFill>
            <a:srgbClr val="EBF5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32E1B02-2CEA-55EA-F8ED-93EAEE2A61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51397" y="2"/>
            <a:ext cx="5640604" cy="5987275"/>
          </a:xfrm>
          <a:custGeom>
            <a:avLst/>
            <a:gdLst>
              <a:gd name="connsiteX0" fmla="*/ 0 w 5640604"/>
              <a:gd name="connsiteY0" fmla="*/ 0 h 5987275"/>
              <a:gd name="connsiteX1" fmla="*/ 5640604 w 5640604"/>
              <a:gd name="connsiteY1" fmla="*/ 1 h 5987275"/>
              <a:gd name="connsiteX2" fmla="*/ 5640604 w 5640604"/>
              <a:gd name="connsiteY2" fmla="*/ 5151008 h 5987275"/>
              <a:gd name="connsiteX3" fmla="*/ 1655306 w 5640604"/>
              <a:gd name="connsiteY3" fmla="*/ 5978734 h 5987275"/>
              <a:gd name="connsiteX4" fmla="*/ 1176516 w 5640604"/>
              <a:gd name="connsiteY4" fmla="*/ 5664625 h 598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40604" h="5987275">
                <a:moveTo>
                  <a:pt x="0" y="0"/>
                </a:moveTo>
                <a:lnTo>
                  <a:pt x="5640604" y="1"/>
                </a:lnTo>
                <a:lnTo>
                  <a:pt x="5640604" y="5151008"/>
                </a:lnTo>
                <a:lnTo>
                  <a:pt x="1655306" y="5978734"/>
                </a:lnTo>
                <a:cubicBezTo>
                  <a:pt x="1436353" y="6024210"/>
                  <a:pt x="1221990" y="5883578"/>
                  <a:pt x="1176516" y="566462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bIns="180000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pPr marL="228600" lvl="0" indent="-228600" algn="ctr"/>
            <a:r>
              <a:rPr lang="en-US"/>
              <a:t>Click on the icon to add an image </a:t>
            </a:r>
            <a:br>
              <a:rPr lang="en-US"/>
            </a:br>
            <a:r>
              <a:rPr lang="en-US"/>
              <a:t>inside the placeholder.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79D08D4-6EED-7FD6-2357-F08D39E3D59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7200" y="3500438"/>
            <a:ext cx="6184899" cy="2592387"/>
          </a:xfrm>
          <a:prstGeom prst="rect">
            <a:avLst/>
          </a:prstGeom>
          <a:noFill/>
        </p:spPr>
        <p:txBody>
          <a:bodyPr lIns="180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Add paragraph text here. Increase or decrease font size as needed. Use bolded text and color to highlight key information.</a:t>
            </a:r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EE613B11-FFB9-80CE-CBF8-F8C8312C78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2576605"/>
            <a:ext cx="6184899" cy="923833"/>
          </a:xfrm>
        </p:spPr>
        <p:txBody>
          <a:bodyPr lIns="180000" rIns="72000" anchor="ctr"/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goes here. Keep text short and within box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2F32C9-4D9B-42B5-9D38-1055D00812D2}" type="datetime1">
              <a:rPr lang="en-US" smtClean="0"/>
              <a:t>6/21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3C8A52-6867-4192-3618-17366DB5B8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58160"/>
            <a:ext cx="6094197" cy="65784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31CC719-9BB4-23F1-A794-82D98D3B10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5586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31CC719-9BB4-23F1-A794-82D98D3B10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71672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0348854-2F0C-31C1-37C5-E164C336A1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476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0348854-2F0C-31C1-37C5-E164C336A1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816B9B4D-DFFB-C773-686C-E92AACF0201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302479" y="2486641"/>
            <a:ext cx="5409452" cy="3606184"/>
          </a:xfrm>
          <a:prstGeom prst="rect">
            <a:avLst/>
          </a:prstGeom>
          <a:noFill/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vert="horz" lIns="180000" tIns="180000" rIns="180000" bIns="180000" rtlCol="0" anchor="ctr">
            <a:noAutofit/>
          </a:bodyPr>
          <a:lstStyle>
            <a:lvl1pPr marL="342900" indent="-342900">
              <a:spcBef>
                <a:spcPts val="1000"/>
              </a:spcBef>
              <a:buFont typeface="Arial" panose="020B0604020202020204" pitchFamily="34" charset="0"/>
              <a:buChar char="•"/>
              <a:defRPr lang="en-US" sz="2200" dirty="0"/>
            </a:lvl1pPr>
          </a:lstStyle>
          <a:p>
            <a:pPr lvl="0"/>
            <a:r>
              <a:rPr lang="en-US"/>
              <a:t>Add paragraph text here. Increase or decrease font size as needed. Use bolded text and color to highlight key information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0BCBC8-7D7D-4E48-B7C2-33E780D82FC8}" type="datetime1">
              <a:rPr lang="en-US" smtClean="0"/>
              <a:t>6/21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F874A90-744C-CDF2-C205-106042DFCA3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02479" y="1447800"/>
            <a:ext cx="5409452" cy="1038840"/>
          </a:xfrm>
          <a:noFill/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lIns="180000" tIns="180000" rIns="180000" bIns="180000" anchor="ctr"/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itle here. Keep text short and stay within the text box.</a:t>
            </a:r>
          </a:p>
        </p:txBody>
      </p:sp>
      <p:sp>
        <p:nvSpPr>
          <p:cNvPr id="14" name="Picture Placeholder 26">
            <a:extLst>
              <a:ext uri="{FF2B5EF4-FFF2-40B4-BE49-F238E27FC236}">
                <a16:creationId xmlns:a16="http://schemas.microsoft.com/office/drawing/2014/main" id="{2CE2C2EC-53D8-4B23-90FD-855753B499E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8466" y="457199"/>
            <a:ext cx="5622453" cy="5622447"/>
          </a:xfrm>
          <a:prstGeom prst="roundRect">
            <a:avLst>
              <a:gd name="adj" fmla="val 10047"/>
            </a:avLst>
          </a:prstGeom>
          <a:solidFill>
            <a:schemeClr val="bg2"/>
          </a:solidFill>
        </p:spPr>
        <p:txBody>
          <a:bodyPr wrap="square" lIns="108000" tIns="144000" rIns="108000" bIns="180000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on the icon to add an image. </a:t>
            </a:r>
          </a:p>
        </p:txBody>
      </p:sp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ABD558EC-1B8C-F219-C317-3CAFC6D20A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68421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ABD558EC-1B8C-F219-C317-3CAFC6D20A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C91567-2BE7-B5D7-7543-2B6F95381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479" y="383560"/>
            <a:ext cx="5432320" cy="1064240"/>
          </a:xfrm>
        </p:spPr>
        <p:txBody>
          <a:bodyPr lIns="180000" anchor="t" anchorCtr="0"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5329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FA89FF45-C56C-9D97-B76A-7E34E1A214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4622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FA89FF45-C56C-9D97-B76A-7E34E1A21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92D8A1E7-7D41-5321-6DAC-6586316777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715039" y="1196975"/>
            <a:ext cx="1620000" cy="1620000"/>
          </a:xfrm>
          <a:prstGeom prst="roundRect">
            <a:avLst/>
          </a:prstGeom>
          <a:solidFill>
            <a:schemeClr val="bg2"/>
          </a:solidFill>
        </p:spPr>
        <p:txBody>
          <a:bodyPr wrap="square" lIns="144000" tIns="180000" rIns="144000">
            <a:noAutofit/>
          </a:bodyPr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to insert image.</a:t>
            </a:r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04C0C1A7-346A-7E3C-6411-CA1A6E65EC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573120" y="1196975"/>
            <a:ext cx="1620000" cy="1620000"/>
          </a:xfrm>
          <a:prstGeom prst="roundRect">
            <a:avLst/>
          </a:prstGeom>
          <a:solidFill>
            <a:schemeClr val="bg2"/>
          </a:solidFill>
        </p:spPr>
        <p:txBody>
          <a:bodyPr wrap="square" lIns="144000" tIns="180000" rIns="144000">
            <a:noAutofit/>
          </a:bodyPr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to insert image.</a:t>
            </a:r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E5F28673-1085-F29F-C564-8AB4B6D824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427919" y="3705351"/>
            <a:ext cx="1620000" cy="1620000"/>
          </a:xfrm>
          <a:prstGeom prst="roundRect">
            <a:avLst/>
          </a:prstGeom>
          <a:solidFill>
            <a:schemeClr val="bg2"/>
          </a:solidFill>
        </p:spPr>
        <p:txBody>
          <a:bodyPr wrap="square" lIns="144000" tIns="180000" rIns="144000">
            <a:noAutofit/>
          </a:bodyPr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to insert image.</a:t>
            </a:r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381ACE06-CA42-0A4B-9DF0-5AF9B66278E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285999" y="3705351"/>
            <a:ext cx="1620000" cy="1620000"/>
          </a:xfrm>
          <a:prstGeom prst="roundRect">
            <a:avLst/>
          </a:prstGeom>
          <a:solidFill>
            <a:schemeClr val="bg2"/>
          </a:solidFill>
        </p:spPr>
        <p:txBody>
          <a:bodyPr wrap="square" lIns="144000" tIns="180000" rIns="144000">
            <a:noAutofit/>
          </a:bodyPr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to insert image.</a:t>
            </a:r>
          </a:p>
        </p:txBody>
      </p: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6AEB9971-9B73-4664-259C-0D399D03275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44079" y="3705351"/>
            <a:ext cx="1620000" cy="1620000"/>
          </a:xfrm>
          <a:prstGeom prst="roundRect">
            <a:avLst/>
          </a:prstGeom>
          <a:solidFill>
            <a:schemeClr val="bg2"/>
          </a:solidFill>
        </p:spPr>
        <p:txBody>
          <a:bodyPr wrap="square" lIns="144000" tIns="180000" rIns="144000">
            <a:noAutofit/>
          </a:bodyPr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to insert image.</a:t>
            </a:r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3FECBFA8-B36A-EED1-3183-4CCF39FB3CF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56959" y="1196975"/>
            <a:ext cx="1620000" cy="1620000"/>
          </a:xfrm>
          <a:prstGeom prst="roundRect">
            <a:avLst/>
          </a:prstGeom>
          <a:solidFill>
            <a:schemeClr val="bg2"/>
          </a:solidFill>
        </p:spPr>
        <p:txBody>
          <a:bodyPr wrap="square" lIns="144000" tIns="180000" rIns="144000">
            <a:noAutofit/>
          </a:bodyPr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to insert image.</a:t>
            </a: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4FC45E8C-8B06-7FAB-BC99-2DB5BCD6F2A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8879" y="1196975"/>
            <a:ext cx="1620000" cy="1620000"/>
          </a:xfrm>
          <a:prstGeom prst="roundRect">
            <a:avLst/>
          </a:prstGeom>
          <a:solidFill>
            <a:schemeClr val="bg2"/>
          </a:solidFill>
        </p:spPr>
        <p:txBody>
          <a:bodyPr wrap="square" lIns="144000" tIns="180000" rIns="144000">
            <a:noAutofit/>
          </a:bodyPr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to insert image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448AB9-A81B-4629-891C-AAB2D966FD7A}" type="datetime1">
              <a:rPr lang="en-US" smtClean="0"/>
              <a:t>6/21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3C8A52-6867-4192-3618-17366DB5B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B97047B-B222-1095-4984-4CB075708A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5836" y="2831316"/>
            <a:ext cx="2686086" cy="776872"/>
          </a:xfrm>
        </p:spPr>
        <p:txBody>
          <a:bodyPr tIns="108000" rIns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insert name.</a:t>
            </a:r>
          </a:p>
        </p:txBody>
      </p:sp>
      <p:sp>
        <p:nvSpPr>
          <p:cNvPr id="45" name="Text Placeholder 25">
            <a:extLst>
              <a:ext uri="{FF2B5EF4-FFF2-40B4-BE49-F238E27FC236}">
                <a16:creationId xmlns:a16="http://schemas.microsoft.com/office/drawing/2014/main" id="{D9F72961-63D9-0A98-708B-5CADC2FCE4D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23916" y="2831316"/>
            <a:ext cx="2686086" cy="776872"/>
          </a:xfrm>
        </p:spPr>
        <p:txBody>
          <a:bodyPr tIns="108000" rIns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insert name.</a:t>
            </a:r>
          </a:p>
        </p:txBody>
      </p:sp>
      <p:sp>
        <p:nvSpPr>
          <p:cNvPr id="47" name="Text Placeholder 25">
            <a:extLst>
              <a:ext uri="{FF2B5EF4-FFF2-40B4-BE49-F238E27FC236}">
                <a16:creationId xmlns:a16="http://schemas.microsoft.com/office/drawing/2014/main" id="{BB05C0F2-473B-D11D-709C-5B049F61EF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81996" y="2831316"/>
            <a:ext cx="2686086" cy="776872"/>
          </a:xfrm>
        </p:spPr>
        <p:txBody>
          <a:bodyPr tIns="108000" rIns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insert name.</a:t>
            </a:r>
          </a:p>
        </p:txBody>
      </p:sp>
      <p:sp>
        <p:nvSpPr>
          <p:cNvPr id="48" name="Text Placeholder 25">
            <a:extLst>
              <a:ext uri="{FF2B5EF4-FFF2-40B4-BE49-F238E27FC236}">
                <a16:creationId xmlns:a16="http://schemas.microsoft.com/office/drawing/2014/main" id="{BADB2506-63DF-7C9C-B805-4B8427D14B0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40078" y="2831316"/>
            <a:ext cx="2686086" cy="776872"/>
          </a:xfrm>
        </p:spPr>
        <p:txBody>
          <a:bodyPr tIns="108000" rIns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insert name.</a:t>
            </a:r>
          </a:p>
        </p:txBody>
      </p:sp>
      <p:sp>
        <p:nvSpPr>
          <p:cNvPr id="49" name="Text Placeholder 25">
            <a:extLst>
              <a:ext uri="{FF2B5EF4-FFF2-40B4-BE49-F238E27FC236}">
                <a16:creationId xmlns:a16="http://schemas.microsoft.com/office/drawing/2014/main" id="{C2A0D23E-F844-FCBD-9453-36D63677DD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894876" y="5350678"/>
            <a:ext cx="2686086" cy="776872"/>
          </a:xfrm>
        </p:spPr>
        <p:txBody>
          <a:bodyPr tIns="108000" rIns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insert name.</a:t>
            </a:r>
          </a:p>
        </p:txBody>
      </p:sp>
      <p:sp>
        <p:nvSpPr>
          <p:cNvPr id="50" name="Text Placeholder 25">
            <a:extLst>
              <a:ext uri="{FF2B5EF4-FFF2-40B4-BE49-F238E27FC236}">
                <a16:creationId xmlns:a16="http://schemas.microsoft.com/office/drawing/2014/main" id="{0153A0ED-38A2-F44B-EF5E-5FBEC108C0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52956" y="5350678"/>
            <a:ext cx="2686086" cy="776872"/>
          </a:xfrm>
        </p:spPr>
        <p:txBody>
          <a:bodyPr tIns="108000" rIns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insert name.</a:t>
            </a:r>
          </a:p>
        </p:txBody>
      </p:sp>
      <p:sp>
        <p:nvSpPr>
          <p:cNvPr id="51" name="Text Placeholder 25">
            <a:extLst>
              <a:ext uri="{FF2B5EF4-FFF2-40B4-BE49-F238E27FC236}">
                <a16:creationId xmlns:a16="http://schemas.microsoft.com/office/drawing/2014/main" id="{C697EC28-996C-3058-9EF8-EB8373F79C9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11036" y="5350678"/>
            <a:ext cx="2686086" cy="776872"/>
          </a:xfrm>
        </p:spPr>
        <p:txBody>
          <a:bodyPr tIns="108000" rIns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insert name.</a:t>
            </a:r>
          </a:p>
        </p:txBody>
      </p:sp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ADD5E5AF-85A8-863D-2021-3972EA8F09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44622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ADD5E5AF-85A8-863D-2021-3972EA8F09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48524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9E9F200-E951-F93B-18AF-C4C5860736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16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9E9F200-E951-F93B-18AF-C4C5860736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5C368CEE-E751-4BE4-74CF-27A47FDFB4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22240" y="2066397"/>
            <a:ext cx="6512559" cy="936624"/>
          </a:xfrm>
          <a:solidFill>
            <a:schemeClr val="accent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900000" rIns="180000"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2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Agenda content here. 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D1A839E2-2083-51A3-6D1E-23506CB0FA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22240" y="3332693"/>
            <a:ext cx="6512559" cy="936624"/>
          </a:xfrm>
          <a:solidFill>
            <a:schemeClr val="accent3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lang="en-US" sz="2200" dirty="0">
                <a:solidFill>
                  <a:schemeClr val="bg1"/>
                </a:solidFill>
              </a:defRPr>
            </a:lvl1pPr>
          </a:lstStyle>
          <a:p>
            <a:pPr marL="228600" lvl="0" indent="-228600"/>
            <a:r>
              <a:rPr lang="en-US"/>
              <a:t>Agenda content here.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A54B016A-4C57-D7ED-94FF-247F0D8623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22240" y="4598989"/>
            <a:ext cx="6512559" cy="936624"/>
          </a:xfrm>
          <a:solidFill>
            <a:schemeClr val="accent4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lang="en-US" sz="2200" dirty="0">
                <a:solidFill>
                  <a:schemeClr val="bg1"/>
                </a:solidFill>
              </a:defRPr>
            </a:lvl1pPr>
          </a:lstStyle>
          <a:p>
            <a:pPr marL="228600" lvl="0" indent="-228600"/>
            <a:r>
              <a:rPr lang="en-US"/>
              <a:t>Agenda content here.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48011A9-1AF3-AB2F-E4F7-6F3BED06C1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22240" y="800100"/>
            <a:ext cx="6512559" cy="936624"/>
          </a:xfrm>
          <a:solidFill>
            <a:schemeClr val="tx2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lang="en-US" sz="2200" dirty="0">
                <a:solidFill>
                  <a:schemeClr val="bg1"/>
                </a:solidFill>
              </a:defRPr>
            </a:lvl1pPr>
          </a:lstStyle>
          <a:p>
            <a:pPr marL="228600" lvl="0" indent="-228600"/>
            <a:r>
              <a:rPr lang="en-US"/>
              <a:t>Agenda content here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DF667E-1E73-A29A-320D-A51DAB57DF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100080"/>
            <a:ext cx="3759200" cy="657840"/>
          </a:xfrm>
        </p:spPr>
        <p:txBody>
          <a:bodyPr vert="horz" lIns="72000"/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Agenda he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6C12071-CB86-10BF-4A15-FB93951440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53351" y="800100"/>
            <a:ext cx="936000" cy="936624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lIns="72000" anchor="ctr" anchorCtr="0"/>
          <a:lstStyle>
            <a:lvl1pPr marL="0" indent="0" algn="ctr">
              <a:buFont typeface="Arial" panose="020B0604020202020204" pitchFamily="34" charset="0"/>
              <a:buNone/>
              <a:defRPr sz="3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AD1B58EF-DF05-BACD-224F-374CA161B0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53351" y="2066397"/>
            <a:ext cx="936000" cy="936624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ctr">
              <a:buNone/>
              <a:defRPr lang="en-US" sz="3600" b="1" dirty="0">
                <a:solidFill>
                  <a:schemeClr val="accent1"/>
                </a:solidFill>
              </a:defRPr>
            </a:lvl1pPr>
          </a:lstStyle>
          <a:p>
            <a:pPr marL="228600" lvl="0" indent="-228600" algn="ctr"/>
            <a:r>
              <a:rPr lang="en-US"/>
              <a:t>#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E8DCB086-E8F1-927F-ECF6-6E22526C91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3351" y="3332693"/>
            <a:ext cx="936000" cy="936624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ctr">
              <a:buNone/>
              <a:defRPr lang="en-US" sz="3600" b="1" dirty="0">
                <a:solidFill>
                  <a:schemeClr val="accent3"/>
                </a:solidFill>
              </a:defRPr>
            </a:lvl1pPr>
          </a:lstStyle>
          <a:p>
            <a:pPr marL="228600" lvl="0" indent="-228600" algn="ctr"/>
            <a:r>
              <a:rPr lang="en-US"/>
              <a:t>#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4A032871-3690-A37B-0AF5-3492F0B82E9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53351" y="4598989"/>
            <a:ext cx="936000" cy="936624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ctr">
              <a:buNone/>
              <a:defRPr lang="en-US" sz="3600" b="1">
                <a:solidFill>
                  <a:schemeClr val="accent4"/>
                </a:solidFill>
              </a:defRPr>
            </a:lvl1pPr>
          </a:lstStyle>
          <a:p>
            <a:pPr marL="228600" lvl="0" indent="-228600" algn="ctr"/>
            <a:r>
              <a:rPr lang="en-US"/>
              <a:t>#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8A85925-CEF4-D3EF-7365-34B8DF9DA999}"/>
              </a:ext>
            </a:extLst>
          </p:cNvPr>
          <p:cNvGrpSpPr/>
          <p:nvPr/>
        </p:nvGrpSpPr>
        <p:grpSpPr>
          <a:xfrm>
            <a:off x="-36619" y="0"/>
            <a:ext cx="2178474" cy="2517520"/>
            <a:chOff x="-36619" y="0"/>
            <a:chExt cx="2178474" cy="2517520"/>
          </a:xfrm>
          <a:solidFill>
            <a:schemeClr val="accent2">
              <a:alpha val="30000"/>
            </a:schemeClr>
          </a:solidFill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81986BFC-7187-470F-540E-57556FD977BE}"/>
                </a:ext>
              </a:extLst>
            </p:cNvPr>
            <p:cNvSpPr/>
            <p:nvPr/>
          </p:nvSpPr>
          <p:spPr>
            <a:xfrm rot="18900000" flipV="1">
              <a:off x="-36619" y="888341"/>
              <a:ext cx="2178474" cy="1201042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4B9386E-8A6A-0F6C-D728-A18158271702}"/>
                </a:ext>
              </a:extLst>
            </p:cNvPr>
            <p:cNvSpPr/>
            <p:nvPr/>
          </p:nvSpPr>
          <p:spPr>
            <a:xfrm rot="5400000">
              <a:off x="699653" y="175318"/>
              <a:ext cx="1551677" cy="1201042"/>
            </a:xfrm>
            <a:custGeom>
              <a:avLst/>
              <a:gdLst>
                <a:gd name="connsiteX0" fmla="*/ 462438 w 1551677"/>
                <a:gd name="connsiteY0" fmla="*/ 268059 h 1201042"/>
                <a:gd name="connsiteX1" fmla="*/ 462441 w 1551677"/>
                <a:gd name="connsiteY1" fmla="*/ 268061 h 1201042"/>
                <a:gd name="connsiteX2" fmla="*/ 462442 w 1551677"/>
                <a:gd name="connsiteY2" fmla="*/ 268059 h 1201042"/>
                <a:gd name="connsiteX3" fmla="*/ 462441 w 1551677"/>
                <a:gd name="connsiteY3" fmla="*/ 268058 h 1201042"/>
                <a:gd name="connsiteX4" fmla="*/ 0 w 1551677"/>
                <a:gd name="connsiteY4" fmla="*/ 879537 h 1201042"/>
                <a:gd name="connsiteX5" fmla="*/ 0 w 1551677"/>
                <a:gd name="connsiteY5" fmla="*/ 20344 h 1201042"/>
                <a:gd name="connsiteX6" fmla="*/ 25856 w 1551677"/>
                <a:gd name="connsiteY6" fmla="*/ 46200 h 1201042"/>
                <a:gd name="connsiteX7" fmla="*/ 331673 w 1551677"/>
                <a:gd name="connsiteY7" fmla="*/ 208904 h 1201042"/>
                <a:gd name="connsiteX8" fmla="*/ 410875 w 1551677"/>
                <a:gd name="connsiteY8" fmla="*/ 216495 h 1201042"/>
                <a:gd name="connsiteX9" fmla="*/ 459968 w 1551677"/>
                <a:gd name="connsiteY9" fmla="*/ 265589 h 1201042"/>
                <a:gd name="connsiteX10" fmla="*/ 459968 w 1551677"/>
                <a:gd name="connsiteY10" fmla="*/ 265585 h 1201042"/>
                <a:gd name="connsiteX11" fmla="*/ 410875 w 1551677"/>
                <a:gd name="connsiteY11" fmla="*/ 216492 h 1201042"/>
                <a:gd name="connsiteX12" fmla="*/ 444845 w 1551677"/>
                <a:gd name="connsiteY12" fmla="*/ 219749 h 1201042"/>
                <a:gd name="connsiteX13" fmla="*/ 459968 w 1551677"/>
                <a:gd name="connsiteY13" fmla="*/ 218300 h 1201042"/>
                <a:gd name="connsiteX14" fmla="*/ 459968 w 1551677"/>
                <a:gd name="connsiteY14" fmla="*/ 217826 h 1201042"/>
                <a:gd name="connsiteX15" fmla="*/ 462441 w 1551677"/>
                <a:gd name="connsiteY15" fmla="*/ 218063 h 1201042"/>
                <a:gd name="connsiteX16" fmla="*/ 464912 w 1551677"/>
                <a:gd name="connsiteY16" fmla="*/ 217826 h 1201042"/>
                <a:gd name="connsiteX17" fmla="*/ 464912 w 1551677"/>
                <a:gd name="connsiteY17" fmla="*/ 218300 h 1201042"/>
                <a:gd name="connsiteX18" fmla="*/ 480035 w 1551677"/>
                <a:gd name="connsiteY18" fmla="*/ 219749 h 1201042"/>
                <a:gd name="connsiteX19" fmla="*/ 514005 w 1551677"/>
                <a:gd name="connsiteY19" fmla="*/ 216492 h 1201042"/>
                <a:gd name="connsiteX20" fmla="*/ 464912 w 1551677"/>
                <a:gd name="connsiteY20" fmla="*/ 265585 h 1201042"/>
                <a:gd name="connsiteX21" fmla="*/ 464912 w 1551677"/>
                <a:gd name="connsiteY21" fmla="*/ 265589 h 1201042"/>
                <a:gd name="connsiteX22" fmla="*/ 514005 w 1551677"/>
                <a:gd name="connsiteY22" fmla="*/ 216495 h 1201042"/>
                <a:gd name="connsiteX23" fmla="*/ 593207 w 1551677"/>
                <a:gd name="connsiteY23" fmla="*/ 208904 h 1201042"/>
                <a:gd name="connsiteX24" fmla="*/ 899024 w 1551677"/>
                <a:gd name="connsiteY24" fmla="*/ 46200 h 1201042"/>
                <a:gd name="connsiteX25" fmla="*/ 937352 w 1551677"/>
                <a:gd name="connsiteY25" fmla="*/ 7872 h 1201042"/>
                <a:gd name="connsiteX26" fmla="*/ 943777 w 1551677"/>
                <a:gd name="connsiteY26" fmla="*/ 7256 h 1201042"/>
                <a:gd name="connsiteX27" fmla="*/ 943777 w 1551677"/>
                <a:gd name="connsiteY27" fmla="*/ 7253 h 1201042"/>
                <a:gd name="connsiteX28" fmla="*/ 1019458 w 1551677"/>
                <a:gd name="connsiteY28" fmla="*/ 0 h 1201042"/>
                <a:gd name="connsiteX29" fmla="*/ 1512743 w 1551677"/>
                <a:gd name="connsiteY29" fmla="*/ 204326 h 1201042"/>
                <a:gd name="connsiteX30" fmla="*/ 1551677 w 1551677"/>
                <a:gd name="connsiteY30" fmla="*/ 243260 h 1201042"/>
                <a:gd name="connsiteX31" fmla="*/ 1551677 w 1551677"/>
                <a:gd name="connsiteY31" fmla="*/ 252736 h 1201042"/>
                <a:gd name="connsiteX32" fmla="*/ 943778 w 1551677"/>
                <a:gd name="connsiteY32" fmla="*/ 860636 h 1201042"/>
                <a:gd name="connsiteX33" fmla="*/ 943778 w 1551677"/>
                <a:gd name="connsiteY33" fmla="*/ 860639 h 1201042"/>
                <a:gd name="connsiteX34" fmla="*/ 690769 w 1551677"/>
                <a:gd name="connsiteY34" fmla="*/ 1113648 h 1201042"/>
                <a:gd name="connsiteX35" fmla="*/ 479781 w 1551677"/>
                <a:gd name="connsiteY35" fmla="*/ 1201042 h 1201042"/>
                <a:gd name="connsiteX36" fmla="*/ 462441 w 1551677"/>
                <a:gd name="connsiteY36" fmla="*/ 1199380 h 1201042"/>
                <a:gd name="connsiteX37" fmla="*/ 445099 w 1551677"/>
                <a:gd name="connsiteY37" fmla="*/ 1201042 h 1201042"/>
                <a:gd name="connsiteX38" fmla="*/ 234111 w 1551677"/>
                <a:gd name="connsiteY38" fmla="*/ 1113648 h 1201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551677" h="1201042">
                  <a:moveTo>
                    <a:pt x="462438" y="268059"/>
                  </a:moveTo>
                  <a:lnTo>
                    <a:pt x="462441" y="268061"/>
                  </a:lnTo>
                  <a:lnTo>
                    <a:pt x="462442" y="268059"/>
                  </a:lnTo>
                  <a:lnTo>
                    <a:pt x="462441" y="268058"/>
                  </a:lnTo>
                  <a:close/>
                  <a:moveTo>
                    <a:pt x="0" y="879537"/>
                  </a:moveTo>
                  <a:lnTo>
                    <a:pt x="0" y="20344"/>
                  </a:lnTo>
                  <a:lnTo>
                    <a:pt x="25856" y="46200"/>
                  </a:lnTo>
                  <a:cubicBezTo>
                    <a:pt x="112631" y="132975"/>
                    <a:pt x="219625" y="187209"/>
                    <a:pt x="331673" y="208904"/>
                  </a:cubicBezTo>
                  <a:lnTo>
                    <a:pt x="410875" y="216495"/>
                  </a:lnTo>
                  <a:lnTo>
                    <a:pt x="459968" y="265589"/>
                  </a:lnTo>
                  <a:lnTo>
                    <a:pt x="459968" y="265585"/>
                  </a:lnTo>
                  <a:lnTo>
                    <a:pt x="410875" y="216492"/>
                  </a:lnTo>
                  <a:lnTo>
                    <a:pt x="444845" y="219749"/>
                  </a:lnTo>
                  <a:lnTo>
                    <a:pt x="459968" y="218300"/>
                  </a:lnTo>
                  <a:lnTo>
                    <a:pt x="459968" y="217826"/>
                  </a:lnTo>
                  <a:lnTo>
                    <a:pt x="462441" y="218063"/>
                  </a:lnTo>
                  <a:lnTo>
                    <a:pt x="464912" y="217826"/>
                  </a:lnTo>
                  <a:lnTo>
                    <a:pt x="464912" y="218300"/>
                  </a:lnTo>
                  <a:lnTo>
                    <a:pt x="480035" y="219749"/>
                  </a:lnTo>
                  <a:lnTo>
                    <a:pt x="514005" y="216492"/>
                  </a:lnTo>
                  <a:lnTo>
                    <a:pt x="464912" y="265585"/>
                  </a:lnTo>
                  <a:lnTo>
                    <a:pt x="464912" y="265589"/>
                  </a:lnTo>
                  <a:lnTo>
                    <a:pt x="514005" y="216495"/>
                  </a:lnTo>
                  <a:lnTo>
                    <a:pt x="593207" y="208904"/>
                  </a:lnTo>
                  <a:cubicBezTo>
                    <a:pt x="705255" y="187209"/>
                    <a:pt x="812249" y="132975"/>
                    <a:pt x="899024" y="46200"/>
                  </a:cubicBezTo>
                  <a:lnTo>
                    <a:pt x="937352" y="7872"/>
                  </a:lnTo>
                  <a:lnTo>
                    <a:pt x="943777" y="7256"/>
                  </a:lnTo>
                  <a:lnTo>
                    <a:pt x="943777" y="7253"/>
                  </a:lnTo>
                  <a:lnTo>
                    <a:pt x="1019458" y="0"/>
                  </a:lnTo>
                  <a:cubicBezTo>
                    <a:pt x="1197992" y="0"/>
                    <a:pt x="1376526" y="68108"/>
                    <a:pt x="1512743" y="204326"/>
                  </a:cubicBezTo>
                  <a:lnTo>
                    <a:pt x="1551677" y="243260"/>
                  </a:lnTo>
                  <a:lnTo>
                    <a:pt x="1551677" y="252736"/>
                  </a:lnTo>
                  <a:lnTo>
                    <a:pt x="943778" y="860636"/>
                  </a:lnTo>
                  <a:lnTo>
                    <a:pt x="943778" y="860639"/>
                  </a:lnTo>
                  <a:lnTo>
                    <a:pt x="690769" y="1113648"/>
                  </a:lnTo>
                  <a:cubicBezTo>
                    <a:pt x="632507" y="1171911"/>
                    <a:pt x="556144" y="1201042"/>
                    <a:pt x="479781" y="1201042"/>
                  </a:cubicBezTo>
                  <a:lnTo>
                    <a:pt x="462441" y="1199380"/>
                  </a:lnTo>
                  <a:lnTo>
                    <a:pt x="445099" y="1201042"/>
                  </a:lnTo>
                  <a:cubicBezTo>
                    <a:pt x="368736" y="1201042"/>
                    <a:pt x="292373" y="1171911"/>
                    <a:pt x="234111" y="1113648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9D79138-EB59-AA98-9D7F-64F25CDD3423}"/>
                </a:ext>
              </a:extLst>
            </p:cNvPr>
            <p:cNvSpPr/>
            <p:nvPr/>
          </p:nvSpPr>
          <p:spPr>
            <a:xfrm rot="10800000">
              <a:off x="-1" y="1316479"/>
              <a:ext cx="1114046" cy="1201041"/>
            </a:xfrm>
            <a:custGeom>
              <a:avLst/>
              <a:gdLst>
                <a:gd name="connsiteX0" fmla="*/ 1089238 w 1114046"/>
                <a:gd name="connsiteY0" fmla="*/ 268061 h 1201041"/>
                <a:gd name="connsiteX1" fmla="*/ 1089239 w 1114046"/>
                <a:gd name="connsiteY1" fmla="*/ 268059 h 1201041"/>
                <a:gd name="connsiteX2" fmla="*/ 1089238 w 1114046"/>
                <a:gd name="connsiteY2" fmla="*/ 268058 h 1201041"/>
                <a:gd name="connsiteX3" fmla="*/ 1089236 w 1114046"/>
                <a:gd name="connsiteY3" fmla="*/ 268059 h 1201041"/>
                <a:gd name="connsiteX4" fmla="*/ 1106579 w 1114046"/>
                <a:gd name="connsiteY4" fmla="*/ 1201041 h 1201041"/>
                <a:gd name="connsiteX5" fmla="*/ 1089238 w 1114046"/>
                <a:gd name="connsiteY5" fmla="*/ 1199379 h 1201041"/>
                <a:gd name="connsiteX6" fmla="*/ 1071896 w 1114046"/>
                <a:gd name="connsiteY6" fmla="*/ 1201041 h 1201041"/>
                <a:gd name="connsiteX7" fmla="*/ 860908 w 1114046"/>
                <a:gd name="connsiteY7" fmla="*/ 1113647 h 1201041"/>
                <a:gd name="connsiteX8" fmla="*/ 607900 w 1114046"/>
                <a:gd name="connsiteY8" fmla="*/ 860638 h 1201041"/>
                <a:gd name="connsiteX9" fmla="*/ 607900 w 1114046"/>
                <a:gd name="connsiteY9" fmla="*/ 860635 h 1201041"/>
                <a:gd name="connsiteX10" fmla="*/ 0 w 1114046"/>
                <a:gd name="connsiteY10" fmla="*/ 252736 h 1201041"/>
                <a:gd name="connsiteX11" fmla="*/ 0 w 1114046"/>
                <a:gd name="connsiteY11" fmla="*/ 243260 h 1201041"/>
                <a:gd name="connsiteX12" fmla="*/ 38934 w 1114046"/>
                <a:gd name="connsiteY12" fmla="*/ 204326 h 1201041"/>
                <a:gd name="connsiteX13" fmla="*/ 532220 w 1114046"/>
                <a:gd name="connsiteY13" fmla="*/ 0 h 1201041"/>
                <a:gd name="connsiteX14" fmla="*/ 607901 w 1114046"/>
                <a:gd name="connsiteY14" fmla="*/ 7254 h 1201041"/>
                <a:gd name="connsiteX15" fmla="*/ 607901 w 1114046"/>
                <a:gd name="connsiteY15" fmla="*/ 7256 h 1201041"/>
                <a:gd name="connsiteX16" fmla="*/ 614326 w 1114046"/>
                <a:gd name="connsiteY16" fmla="*/ 7872 h 1201041"/>
                <a:gd name="connsiteX17" fmla="*/ 652653 w 1114046"/>
                <a:gd name="connsiteY17" fmla="*/ 46200 h 1201041"/>
                <a:gd name="connsiteX18" fmla="*/ 958470 w 1114046"/>
                <a:gd name="connsiteY18" fmla="*/ 208903 h 1201041"/>
                <a:gd name="connsiteX19" fmla="*/ 1037672 w 1114046"/>
                <a:gd name="connsiteY19" fmla="*/ 216494 h 1201041"/>
                <a:gd name="connsiteX20" fmla="*/ 1086765 w 1114046"/>
                <a:gd name="connsiteY20" fmla="*/ 265588 h 1201041"/>
                <a:gd name="connsiteX21" fmla="*/ 1086765 w 1114046"/>
                <a:gd name="connsiteY21" fmla="*/ 265585 h 1201041"/>
                <a:gd name="connsiteX22" fmla="*/ 1037672 w 1114046"/>
                <a:gd name="connsiteY22" fmla="*/ 216492 h 1201041"/>
                <a:gd name="connsiteX23" fmla="*/ 1071643 w 1114046"/>
                <a:gd name="connsiteY23" fmla="*/ 219749 h 1201041"/>
                <a:gd name="connsiteX24" fmla="*/ 1086765 w 1114046"/>
                <a:gd name="connsiteY24" fmla="*/ 218300 h 1201041"/>
                <a:gd name="connsiteX25" fmla="*/ 1086765 w 1114046"/>
                <a:gd name="connsiteY25" fmla="*/ 217826 h 1201041"/>
                <a:gd name="connsiteX26" fmla="*/ 1089238 w 1114046"/>
                <a:gd name="connsiteY26" fmla="*/ 218063 h 1201041"/>
                <a:gd name="connsiteX27" fmla="*/ 1091710 w 1114046"/>
                <a:gd name="connsiteY27" fmla="*/ 217826 h 1201041"/>
                <a:gd name="connsiteX28" fmla="*/ 1091710 w 1114046"/>
                <a:gd name="connsiteY28" fmla="*/ 218300 h 1201041"/>
                <a:gd name="connsiteX29" fmla="*/ 1106832 w 1114046"/>
                <a:gd name="connsiteY29" fmla="*/ 219749 h 1201041"/>
                <a:gd name="connsiteX30" fmla="*/ 1114046 w 1114046"/>
                <a:gd name="connsiteY30" fmla="*/ 219058 h 1201041"/>
                <a:gd name="connsiteX31" fmla="*/ 1114046 w 1114046"/>
                <a:gd name="connsiteY31" fmla="*/ 243249 h 1201041"/>
                <a:gd name="connsiteX32" fmla="*/ 1091710 w 1114046"/>
                <a:gd name="connsiteY32" fmla="*/ 265585 h 1201041"/>
                <a:gd name="connsiteX33" fmla="*/ 1091710 w 1114046"/>
                <a:gd name="connsiteY33" fmla="*/ 265588 h 1201041"/>
                <a:gd name="connsiteX34" fmla="*/ 1114046 w 1114046"/>
                <a:gd name="connsiteY34" fmla="*/ 243252 h 1201041"/>
                <a:gd name="connsiteX35" fmla="*/ 1114046 w 1114046"/>
                <a:gd name="connsiteY35" fmla="*/ 1200325 h 1201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114046" h="1201041">
                  <a:moveTo>
                    <a:pt x="1089238" y="268061"/>
                  </a:moveTo>
                  <a:lnTo>
                    <a:pt x="1089239" y="268059"/>
                  </a:lnTo>
                  <a:lnTo>
                    <a:pt x="1089238" y="268058"/>
                  </a:lnTo>
                  <a:lnTo>
                    <a:pt x="1089236" y="268059"/>
                  </a:lnTo>
                  <a:close/>
                  <a:moveTo>
                    <a:pt x="1106579" y="1201041"/>
                  </a:moveTo>
                  <a:lnTo>
                    <a:pt x="1089238" y="1199379"/>
                  </a:lnTo>
                  <a:lnTo>
                    <a:pt x="1071896" y="1201041"/>
                  </a:lnTo>
                  <a:cubicBezTo>
                    <a:pt x="995534" y="1201041"/>
                    <a:pt x="919171" y="1171910"/>
                    <a:pt x="860908" y="1113647"/>
                  </a:cubicBezTo>
                  <a:lnTo>
                    <a:pt x="607900" y="860638"/>
                  </a:lnTo>
                  <a:lnTo>
                    <a:pt x="607900" y="860635"/>
                  </a:lnTo>
                  <a:lnTo>
                    <a:pt x="0" y="252736"/>
                  </a:lnTo>
                  <a:lnTo>
                    <a:pt x="0" y="243260"/>
                  </a:lnTo>
                  <a:lnTo>
                    <a:pt x="38934" y="204326"/>
                  </a:lnTo>
                  <a:cubicBezTo>
                    <a:pt x="175151" y="68108"/>
                    <a:pt x="353685" y="0"/>
                    <a:pt x="532220" y="0"/>
                  </a:cubicBezTo>
                  <a:lnTo>
                    <a:pt x="607901" y="7254"/>
                  </a:lnTo>
                  <a:lnTo>
                    <a:pt x="607901" y="7256"/>
                  </a:lnTo>
                  <a:lnTo>
                    <a:pt x="614326" y="7872"/>
                  </a:lnTo>
                  <a:lnTo>
                    <a:pt x="652653" y="46200"/>
                  </a:lnTo>
                  <a:cubicBezTo>
                    <a:pt x="739429" y="132975"/>
                    <a:pt x="846422" y="187209"/>
                    <a:pt x="958470" y="208903"/>
                  </a:cubicBezTo>
                  <a:lnTo>
                    <a:pt x="1037672" y="216494"/>
                  </a:lnTo>
                  <a:lnTo>
                    <a:pt x="1086765" y="265588"/>
                  </a:lnTo>
                  <a:lnTo>
                    <a:pt x="1086765" y="265585"/>
                  </a:lnTo>
                  <a:lnTo>
                    <a:pt x="1037672" y="216492"/>
                  </a:lnTo>
                  <a:lnTo>
                    <a:pt x="1071643" y="219749"/>
                  </a:lnTo>
                  <a:lnTo>
                    <a:pt x="1086765" y="218300"/>
                  </a:lnTo>
                  <a:lnTo>
                    <a:pt x="1086765" y="217826"/>
                  </a:lnTo>
                  <a:lnTo>
                    <a:pt x="1089238" y="218063"/>
                  </a:lnTo>
                  <a:lnTo>
                    <a:pt x="1091710" y="217826"/>
                  </a:lnTo>
                  <a:lnTo>
                    <a:pt x="1091710" y="218300"/>
                  </a:lnTo>
                  <a:lnTo>
                    <a:pt x="1106832" y="219749"/>
                  </a:lnTo>
                  <a:lnTo>
                    <a:pt x="1114046" y="219058"/>
                  </a:lnTo>
                  <a:lnTo>
                    <a:pt x="1114046" y="243249"/>
                  </a:lnTo>
                  <a:lnTo>
                    <a:pt x="1091710" y="265585"/>
                  </a:lnTo>
                  <a:lnTo>
                    <a:pt x="1091710" y="265588"/>
                  </a:lnTo>
                  <a:lnTo>
                    <a:pt x="1114046" y="243252"/>
                  </a:lnTo>
                  <a:lnTo>
                    <a:pt x="1114046" y="1200325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2138081-97D7-B328-E190-2AEFE2EA8EE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FC44A2C0-BE61-4EDF-9FD5-AA7C3C6C4F15}" type="datetime1">
              <a:rPr lang="en-US" smtClean="0"/>
              <a:t>6/21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940201-2D26-D759-3D63-5814441A7899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2BCCD4-0274-BFA2-B5D3-6480FE8CCA7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161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65DE6B9-8F07-CD45-486A-6D15EFA85A0C}"/>
              </a:ext>
            </a:extLst>
          </p:cNvPr>
          <p:cNvSpPr/>
          <p:nvPr userDrawn="1"/>
        </p:nvSpPr>
        <p:spPr>
          <a:xfrm>
            <a:off x="0" y="4461737"/>
            <a:ext cx="2719338" cy="2396263"/>
          </a:xfrm>
          <a:custGeom>
            <a:avLst/>
            <a:gdLst>
              <a:gd name="connsiteX0" fmla="*/ 1585247 w 2719338"/>
              <a:gd name="connsiteY0" fmla="*/ 105 h 2396263"/>
              <a:gd name="connsiteX1" fmla="*/ 1714102 w 2719338"/>
              <a:gd name="connsiteY1" fmla="*/ 16278 h 2396263"/>
              <a:gd name="connsiteX2" fmla="*/ 2018836 w 2719338"/>
              <a:gd name="connsiteY2" fmla="*/ 305250 h 2396263"/>
              <a:gd name="connsiteX3" fmla="*/ 2719338 w 2719338"/>
              <a:gd name="connsiteY3" fmla="*/ 2396263 h 2396263"/>
              <a:gd name="connsiteX4" fmla="*/ 0 w 2719338"/>
              <a:gd name="connsiteY4" fmla="*/ 2396262 h 2396263"/>
              <a:gd name="connsiteX5" fmla="*/ 0 w 2719338"/>
              <a:gd name="connsiteY5" fmla="*/ 509971 h 2396263"/>
              <a:gd name="connsiteX6" fmla="*/ 1452772 w 2719338"/>
              <a:gd name="connsiteY6" fmla="*/ 23282 h 2396263"/>
              <a:gd name="connsiteX7" fmla="*/ 1585247 w 2719338"/>
              <a:gd name="connsiteY7" fmla="*/ 105 h 2396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19338" h="2396263">
                <a:moveTo>
                  <a:pt x="1585247" y="105"/>
                </a:moveTo>
                <a:cubicBezTo>
                  <a:pt x="1629229" y="-850"/>
                  <a:pt x="1672607" y="4753"/>
                  <a:pt x="1714102" y="16278"/>
                </a:cubicBezTo>
                <a:cubicBezTo>
                  <a:pt x="1852418" y="54691"/>
                  <a:pt x="1969802" y="158890"/>
                  <a:pt x="2018836" y="305250"/>
                </a:cubicBezTo>
                <a:lnTo>
                  <a:pt x="2719338" y="2396263"/>
                </a:lnTo>
                <a:lnTo>
                  <a:pt x="0" y="2396262"/>
                </a:lnTo>
                <a:lnTo>
                  <a:pt x="0" y="509971"/>
                </a:lnTo>
                <a:lnTo>
                  <a:pt x="1452772" y="23282"/>
                </a:lnTo>
                <a:cubicBezTo>
                  <a:pt x="1496679" y="8574"/>
                  <a:pt x="1541264" y="1059"/>
                  <a:pt x="1585247" y="10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98D7A6A-715A-5FEA-515E-4F253BD849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3410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98D7A6A-715A-5FEA-515E-4F253BD849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6ABA50-BB36-2513-B7E8-AB79C83B5EF0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75922" y="2853465"/>
            <a:ext cx="5638801" cy="14952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71232B-F97E-A6AE-A19A-F77997950CF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57199" y="457201"/>
            <a:ext cx="5638801" cy="2396264"/>
          </a:xfrm>
        </p:spPr>
        <p:txBody>
          <a:bodyPr vert="horz" anchor="b"/>
          <a:lstStyle>
            <a:lvl1pPr algn="l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6" name="Text Placeholder 145">
            <a:extLst>
              <a:ext uri="{FF2B5EF4-FFF2-40B4-BE49-F238E27FC236}">
                <a16:creationId xmlns:a16="http://schemas.microsoft.com/office/drawing/2014/main" id="{06A37646-E5B7-0979-2369-F3B33DDE32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0055" y="4900963"/>
            <a:ext cx="1099228" cy="1099228"/>
          </a:xfrm>
          <a:prstGeom prst="ellipse">
            <a:avLst/>
          </a:prstGeom>
          <a:solidFill>
            <a:schemeClr val="bg1"/>
          </a:solidFill>
        </p:spPr>
        <p:txBody>
          <a:bodyPr wrap="none" lIns="72000" anchor="ctr" anchorCtr="0"/>
          <a:lstStyle>
            <a:lvl1pPr marL="0" indent="0" algn="ctr" rtl="0">
              <a:buNone/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8" name="Picture Placeholder 15">
            <a:extLst>
              <a:ext uri="{FF2B5EF4-FFF2-40B4-BE49-F238E27FC236}">
                <a16:creationId xmlns:a16="http://schemas.microsoft.com/office/drawing/2014/main" id="{1369911E-715C-2EB5-1E07-7B25118AEE9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551397" y="2"/>
            <a:ext cx="5640604" cy="5987275"/>
          </a:xfrm>
          <a:custGeom>
            <a:avLst/>
            <a:gdLst>
              <a:gd name="connsiteX0" fmla="*/ 0 w 5640604"/>
              <a:gd name="connsiteY0" fmla="*/ 0 h 5987275"/>
              <a:gd name="connsiteX1" fmla="*/ 5640604 w 5640604"/>
              <a:gd name="connsiteY1" fmla="*/ 1 h 5987275"/>
              <a:gd name="connsiteX2" fmla="*/ 5640604 w 5640604"/>
              <a:gd name="connsiteY2" fmla="*/ 5151008 h 5987275"/>
              <a:gd name="connsiteX3" fmla="*/ 1655306 w 5640604"/>
              <a:gd name="connsiteY3" fmla="*/ 5978734 h 5987275"/>
              <a:gd name="connsiteX4" fmla="*/ 1176516 w 5640604"/>
              <a:gd name="connsiteY4" fmla="*/ 5664625 h 598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40604" h="5987275">
                <a:moveTo>
                  <a:pt x="0" y="0"/>
                </a:moveTo>
                <a:lnTo>
                  <a:pt x="5640604" y="1"/>
                </a:lnTo>
                <a:lnTo>
                  <a:pt x="5640604" y="5151008"/>
                </a:lnTo>
                <a:lnTo>
                  <a:pt x="1655306" y="5978734"/>
                </a:lnTo>
                <a:cubicBezTo>
                  <a:pt x="1436353" y="6024210"/>
                  <a:pt x="1221990" y="5883578"/>
                  <a:pt x="1176516" y="5664625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180000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pPr marL="228600" lvl="0" indent="-228600" algn="ctr"/>
            <a:r>
              <a:rPr lang="en-US"/>
              <a:t>Click on the icon to add an image </a:t>
            </a:r>
            <a:br>
              <a:rPr lang="en-US"/>
            </a:br>
            <a:r>
              <a:rPr lang="en-US"/>
              <a:t>inside the placeholder.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B9A7C56-8272-DE62-2C75-20E38B73610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22361" y="6294409"/>
            <a:ext cx="1012439" cy="410862"/>
          </a:xfrm>
          <a:prstGeom prst="rect">
            <a:avLst/>
          </a:prstGeom>
        </p:spPr>
      </p:pic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7F376A17-C22F-8F9A-8BAD-4C60686F740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6/21/23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79581132-167D-A1BF-D246-691A46865A6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2678460-E4C4-5343-1E18-121169BB76F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50625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With 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9629756D-B26A-C8BF-30B8-301EF1945FCA}"/>
              </a:ext>
            </a:extLst>
          </p:cNvPr>
          <p:cNvSpPr/>
          <p:nvPr userDrawn="1"/>
        </p:nvSpPr>
        <p:spPr>
          <a:xfrm>
            <a:off x="0" y="0"/>
            <a:ext cx="12190412" cy="6858000"/>
          </a:xfrm>
          <a:custGeom>
            <a:avLst/>
            <a:gdLst>
              <a:gd name="connsiteX0" fmla="*/ 2719338 w 12190412"/>
              <a:gd name="connsiteY0" fmla="*/ 0 h 6858000"/>
              <a:gd name="connsiteX1" fmla="*/ 12190412 w 12190412"/>
              <a:gd name="connsiteY1" fmla="*/ 0 h 6858000"/>
              <a:gd name="connsiteX2" fmla="*/ 12190412 w 12190412"/>
              <a:gd name="connsiteY2" fmla="*/ 6858000 h 6858000"/>
              <a:gd name="connsiteX3" fmla="*/ 0 w 12190412"/>
              <a:gd name="connsiteY3" fmla="*/ 6858000 h 6858000"/>
              <a:gd name="connsiteX4" fmla="*/ 0 w 12190412"/>
              <a:gd name="connsiteY4" fmla="*/ 1886292 h 6858000"/>
              <a:gd name="connsiteX5" fmla="*/ 1452772 w 12190412"/>
              <a:gd name="connsiteY5" fmla="*/ 2372981 h 6858000"/>
              <a:gd name="connsiteX6" fmla="*/ 1585247 w 12190412"/>
              <a:gd name="connsiteY6" fmla="*/ 2396158 h 6858000"/>
              <a:gd name="connsiteX7" fmla="*/ 1714102 w 12190412"/>
              <a:gd name="connsiteY7" fmla="*/ 2379985 h 6858000"/>
              <a:gd name="connsiteX8" fmla="*/ 2018836 w 12190412"/>
              <a:gd name="connsiteY8" fmla="*/ 2091013 h 6858000"/>
              <a:gd name="connsiteX9" fmla="*/ 2719338 w 12190412"/>
              <a:gd name="connsiteY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412" h="6858000">
                <a:moveTo>
                  <a:pt x="2719338" y="0"/>
                </a:moveTo>
                <a:lnTo>
                  <a:pt x="12190412" y="0"/>
                </a:lnTo>
                <a:lnTo>
                  <a:pt x="12190412" y="6858000"/>
                </a:lnTo>
                <a:lnTo>
                  <a:pt x="0" y="6858000"/>
                </a:lnTo>
                <a:lnTo>
                  <a:pt x="0" y="1886292"/>
                </a:lnTo>
                <a:lnTo>
                  <a:pt x="1452772" y="2372981"/>
                </a:lnTo>
                <a:cubicBezTo>
                  <a:pt x="1496679" y="2387689"/>
                  <a:pt x="1541264" y="2395204"/>
                  <a:pt x="1585247" y="2396158"/>
                </a:cubicBezTo>
                <a:cubicBezTo>
                  <a:pt x="1629229" y="2397113"/>
                  <a:pt x="1672607" y="2391510"/>
                  <a:pt x="1714102" y="2379985"/>
                </a:cubicBezTo>
                <a:cubicBezTo>
                  <a:pt x="1852418" y="2341572"/>
                  <a:pt x="1969802" y="2237373"/>
                  <a:pt x="2018836" y="2091013"/>
                </a:cubicBezTo>
                <a:lnTo>
                  <a:pt x="2719338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98D7A6A-715A-5FEA-515E-4F253BD849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8689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98D7A6A-715A-5FEA-515E-4F253BD849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6ABA50-BB36-2513-B7E8-AB79C83B5EF0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75922" y="4599441"/>
            <a:ext cx="5638801" cy="14952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71232B-F97E-A6AE-A19A-F77997950CF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57199" y="2203177"/>
            <a:ext cx="5638801" cy="2396264"/>
          </a:xfrm>
        </p:spPr>
        <p:txBody>
          <a:bodyPr vert="horz" anchor="b"/>
          <a:lstStyle>
            <a:lvl1pPr algn="l"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6" name="Text Placeholder 145">
            <a:extLst>
              <a:ext uri="{FF2B5EF4-FFF2-40B4-BE49-F238E27FC236}">
                <a16:creationId xmlns:a16="http://schemas.microsoft.com/office/drawing/2014/main" id="{06A37646-E5B7-0979-2369-F3B33DDE32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0055" y="969030"/>
            <a:ext cx="1099228" cy="1099228"/>
          </a:xfrm>
          <a:prstGeom prst="ellipse">
            <a:avLst/>
          </a:prstGeom>
          <a:noFill/>
        </p:spPr>
        <p:txBody>
          <a:bodyPr wrap="none" lIns="72000" anchor="ctr" anchorCtr="0"/>
          <a:lstStyle>
            <a:lvl1pPr marL="0" indent="0" algn="ctr" rtl="0">
              <a:buNone/>
              <a:defRPr sz="5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8" name="Picture Placeholder 15">
            <a:extLst>
              <a:ext uri="{FF2B5EF4-FFF2-40B4-BE49-F238E27FC236}">
                <a16:creationId xmlns:a16="http://schemas.microsoft.com/office/drawing/2014/main" id="{1369911E-715C-2EB5-1E07-7B25118AEE9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551397" y="2"/>
            <a:ext cx="5640604" cy="5987275"/>
          </a:xfrm>
          <a:custGeom>
            <a:avLst/>
            <a:gdLst>
              <a:gd name="connsiteX0" fmla="*/ 0 w 5640604"/>
              <a:gd name="connsiteY0" fmla="*/ 0 h 5987275"/>
              <a:gd name="connsiteX1" fmla="*/ 5640604 w 5640604"/>
              <a:gd name="connsiteY1" fmla="*/ 1 h 5987275"/>
              <a:gd name="connsiteX2" fmla="*/ 5640604 w 5640604"/>
              <a:gd name="connsiteY2" fmla="*/ 5151008 h 5987275"/>
              <a:gd name="connsiteX3" fmla="*/ 1655306 w 5640604"/>
              <a:gd name="connsiteY3" fmla="*/ 5978734 h 5987275"/>
              <a:gd name="connsiteX4" fmla="*/ 1176516 w 5640604"/>
              <a:gd name="connsiteY4" fmla="*/ 5664625 h 598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40604" h="5987275">
                <a:moveTo>
                  <a:pt x="0" y="0"/>
                </a:moveTo>
                <a:lnTo>
                  <a:pt x="5640604" y="1"/>
                </a:lnTo>
                <a:lnTo>
                  <a:pt x="5640604" y="5151008"/>
                </a:lnTo>
                <a:lnTo>
                  <a:pt x="1655306" y="5978734"/>
                </a:lnTo>
                <a:cubicBezTo>
                  <a:pt x="1436353" y="6024210"/>
                  <a:pt x="1221990" y="5883578"/>
                  <a:pt x="1176516" y="566462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bIns="180000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pPr marL="228600" lvl="0" indent="-228600" algn="ctr"/>
            <a:r>
              <a:rPr lang="en-US"/>
              <a:t>Click on the icon to add an image </a:t>
            </a:r>
            <a:br>
              <a:rPr lang="en-US"/>
            </a:br>
            <a:r>
              <a:rPr lang="en-US"/>
              <a:t>inside the placeholder.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945E264-49F1-4D02-FF3F-67FF8BB5BA1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22361" y="6294409"/>
            <a:ext cx="1012439" cy="410862"/>
          </a:xfrm>
          <a:prstGeom prst="rect">
            <a:avLst/>
          </a:prstGeom>
        </p:spPr>
      </p:pic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1B5EEE65-B893-0A98-410E-1A9578BE61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6/21/23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EFEF251-C351-9593-0C8D-FF17D2E0464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242D9A00-7555-9A84-DF6F-DB2C4C19EB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98420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CF02C9-342D-E7D9-DE08-C2DD7B9E25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221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CF02C9-342D-E7D9-DE08-C2DD7B9E2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FB5C498-60AD-80EA-3A93-C55F587E0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2221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FB5C498-60AD-80EA-3A93-C55F587E0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96DD058-0B59-2604-D31B-7A99CBA2E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6/21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E5F930-1381-301D-AC92-702D3431F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66C4AC-452C-3445-4E99-7BC3EDF86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1618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F3122EA-1779-00C8-840F-FB101E56D0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2978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F3122EA-1779-00C8-840F-FB101E56D0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5C368CEE-E751-4BE4-74CF-27A47FDFB4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88547" y="2372783"/>
            <a:ext cx="4946252" cy="936624"/>
          </a:xfrm>
          <a:solidFill>
            <a:schemeClr val="accent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buNone/>
              <a:defRPr lang="en-US" sz="2200" dirty="0">
                <a:solidFill>
                  <a:schemeClr val="bg1"/>
                </a:solidFill>
              </a:defRPr>
            </a:lvl1pPr>
          </a:lstStyle>
          <a:p>
            <a:pPr marL="228600" lvl="0" indent="-228600">
              <a:spcBef>
                <a:spcPts val="0"/>
              </a:spcBef>
            </a:pPr>
            <a:r>
              <a:rPr lang="en-US"/>
              <a:t>Agenda content here. 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D1A839E2-2083-51A3-6D1E-23506CB0FA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88547" y="3548591"/>
            <a:ext cx="4946252" cy="936624"/>
          </a:xfrm>
          <a:solidFill>
            <a:schemeClr val="accent3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buNone/>
              <a:defRPr lang="en-US" sz="2200">
                <a:solidFill>
                  <a:schemeClr val="bg1"/>
                </a:solidFill>
              </a:defRPr>
            </a:lvl1pPr>
          </a:lstStyle>
          <a:p>
            <a:pPr marL="228600" lvl="0" indent="-228600">
              <a:spcBef>
                <a:spcPts val="0"/>
              </a:spcBef>
            </a:pPr>
            <a:r>
              <a:rPr lang="en-US"/>
              <a:t>Agenda content here.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A54B016A-4C57-D7ED-94FF-247F0D8623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88547" y="4724400"/>
            <a:ext cx="4946252" cy="936624"/>
          </a:xfrm>
          <a:solidFill>
            <a:schemeClr val="accent4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buNone/>
              <a:defRPr lang="en-US" sz="2200">
                <a:solidFill>
                  <a:schemeClr val="bg1"/>
                </a:solidFill>
              </a:defRPr>
            </a:lvl1pPr>
          </a:lstStyle>
          <a:p>
            <a:pPr marL="228600" lvl="0" indent="-228600">
              <a:spcBef>
                <a:spcPts val="0"/>
              </a:spcBef>
            </a:pPr>
            <a:r>
              <a:rPr lang="en-US"/>
              <a:t>Agenda content here.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48011A9-1AF3-AB2F-E4F7-6F3BED06C1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88545" y="1196975"/>
            <a:ext cx="4946252" cy="936624"/>
          </a:xfrm>
          <a:solidFill>
            <a:schemeClr val="tx2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buNone/>
              <a:defRPr lang="en-US" sz="2200" dirty="0">
                <a:solidFill>
                  <a:schemeClr val="bg1"/>
                </a:solidFill>
              </a:defRPr>
            </a:lvl1pPr>
          </a:lstStyle>
          <a:p>
            <a:pPr marL="228600" lvl="0" indent="-228600">
              <a:spcBef>
                <a:spcPts val="0"/>
              </a:spcBef>
            </a:pPr>
            <a:r>
              <a:rPr lang="en-US"/>
              <a:t>Agenda content here.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84241F-1505-D003-218A-3AF5A4B22F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5E8F29-45D5-4905-9631-7725269CB11C}" type="datetime1">
              <a:rPr lang="en-US" smtClean="0"/>
              <a:t>6/21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5D8229-8A40-0A52-C25B-825C75289C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A9442A-7A30-899E-0137-D8574CCF4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BCE801BB-013A-E515-1D51-D446574FB00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5041" y="2372783"/>
            <a:ext cx="4946252" cy="936624"/>
          </a:xfrm>
          <a:solidFill>
            <a:schemeClr val="accent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buNone/>
              <a:defRPr lang="en-US" sz="2200">
                <a:solidFill>
                  <a:schemeClr val="bg1"/>
                </a:solidFill>
              </a:defRPr>
            </a:lvl1pPr>
          </a:lstStyle>
          <a:p>
            <a:pPr marL="228600" lvl="0" indent="-228600">
              <a:spcBef>
                <a:spcPts val="0"/>
              </a:spcBef>
            </a:pPr>
            <a:r>
              <a:rPr lang="en-US"/>
              <a:t>Agenda content here. 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DDA249DE-F39E-D0E7-9800-A1758BB79A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55041" y="3548591"/>
            <a:ext cx="4946252" cy="936624"/>
          </a:xfrm>
          <a:solidFill>
            <a:schemeClr val="accent3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buNone/>
              <a:defRPr lang="en-US" sz="2200" dirty="0">
                <a:solidFill>
                  <a:schemeClr val="bg1"/>
                </a:solidFill>
              </a:defRPr>
            </a:lvl1pPr>
          </a:lstStyle>
          <a:p>
            <a:pPr marL="228600" lvl="0" indent="-228600">
              <a:spcBef>
                <a:spcPts val="0"/>
              </a:spcBef>
            </a:pPr>
            <a:r>
              <a:rPr lang="en-US"/>
              <a:t>Agenda content here. 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AF9CC1FC-E123-3627-9D7C-30FB23FA92D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5041" y="4724400"/>
            <a:ext cx="4946252" cy="936624"/>
          </a:xfrm>
          <a:solidFill>
            <a:schemeClr val="accent4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buNone/>
              <a:defRPr lang="en-US" sz="2200">
                <a:solidFill>
                  <a:schemeClr val="bg1"/>
                </a:solidFill>
              </a:defRPr>
            </a:lvl1pPr>
          </a:lstStyle>
          <a:p>
            <a:pPr marL="228600" lvl="0" indent="-228600">
              <a:spcBef>
                <a:spcPts val="0"/>
              </a:spcBef>
            </a:pPr>
            <a:r>
              <a:rPr lang="en-US"/>
              <a:t>Agenda content here. 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FB66098F-1C0C-388A-4A14-BB4D3BA9DC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5041" y="1196975"/>
            <a:ext cx="4946252" cy="936624"/>
          </a:xfrm>
          <a:solidFill>
            <a:schemeClr val="tx2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buNone/>
              <a:defRPr lang="en-US" sz="2200" dirty="0">
                <a:solidFill>
                  <a:schemeClr val="bg1"/>
                </a:solidFill>
              </a:defRPr>
            </a:lvl1pPr>
          </a:lstStyle>
          <a:p>
            <a:pPr marL="228600" lvl="0" indent="-228600">
              <a:spcBef>
                <a:spcPts val="0"/>
              </a:spcBef>
            </a:pPr>
            <a:r>
              <a:rPr lang="en-US"/>
              <a:t>Agenda content here.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4A914CA-34A0-5CCF-8942-4D02903ED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graphicFrame>
        <p:nvGraphicFramePr>
          <p:cNvPr id="35" name="Object 34">
            <a:extLst>
              <a:ext uri="{FF2B5EF4-FFF2-40B4-BE49-F238E27FC236}">
                <a16:creationId xmlns:a16="http://schemas.microsoft.com/office/drawing/2014/main" id="{44E001EC-7EE6-98F5-5D54-018F505A66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63506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35" name="Object 34">
                        <a:extLst>
                          <a:ext uri="{FF2B5EF4-FFF2-40B4-BE49-F238E27FC236}">
                            <a16:creationId xmlns:a16="http://schemas.microsoft.com/office/drawing/2014/main" id="{44E001EC-7EE6-98F5-5D54-018F505A66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2020E2A-11C0-BDDA-BBB2-F89B217C707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57200" y="1197287"/>
            <a:ext cx="936000" cy="936000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wrap="none" lIns="36000" tIns="36000" rIns="36000" bIns="36000" anchor="ctr" anchorCtr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0:00</a:t>
            </a:r>
            <a:br>
              <a:rPr lang="en-GB"/>
            </a:br>
            <a:r>
              <a:rPr lang="en-US"/>
              <a:t>am</a:t>
            </a:r>
            <a:endParaRPr lang="en-GB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3244AFE-7A2D-EC1B-BBCF-3C9BD7BB315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7200" y="2373095"/>
            <a:ext cx="936000" cy="936000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wrap="none" lIns="36000" tIns="36000" rIns="36000" bIns="36000" anchor="ctr" anchorCtr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00:00</a:t>
            </a:r>
            <a:br>
              <a:rPr lang="en-GB"/>
            </a:br>
            <a:r>
              <a:rPr lang="en-US"/>
              <a:t>am</a:t>
            </a:r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F098475-45B7-E9DF-DEEA-7928B8D8B29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7200" y="3548903"/>
            <a:ext cx="936000" cy="936000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wrap="none" lIns="36000" tIns="36000" rIns="36000" bIns="36000" anchor="ctr" anchorCtr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00:00</a:t>
            </a:r>
            <a:br>
              <a:rPr lang="en-GB"/>
            </a:br>
            <a:r>
              <a:rPr lang="en-US"/>
              <a:t>am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575CEC7-AF3C-89A6-AFEE-ACF6CA702D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7200" y="4724712"/>
            <a:ext cx="936000" cy="936000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wrap="none" lIns="36000" tIns="36000" rIns="36000" bIns="36000" anchor="ctr" anchorCtr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0:00</a:t>
            </a:r>
            <a:br>
              <a:rPr lang="en-GB"/>
            </a:br>
            <a:r>
              <a:rPr lang="en-US"/>
              <a:t>am</a:t>
            </a:r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65519D58-AEB7-9D2B-AEAD-6F30AFFD513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20545" y="1197287"/>
            <a:ext cx="936000" cy="936000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wrap="none" lIns="36000" tIns="36000" rIns="36000" bIns="36000" anchor="ctr" anchorCtr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0:00</a:t>
            </a:r>
            <a:br>
              <a:rPr lang="en-GB"/>
            </a:br>
            <a:r>
              <a:rPr lang="en-US"/>
              <a:t>am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BEBB42D6-E656-7FE4-212F-6267AE6E6A8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20545" y="2373095"/>
            <a:ext cx="936000" cy="936000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wrap="none" lIns="36000" tIns="36000" rIns="36000" bIns="36000" anchor="ctr" anchorCtr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00:00</a:t>
            </a:r>
            <a:br>
              <a:rPr lang="en-GB"/>
            </a:br>
            <a:r>
              <a:rPr lang="en-US"/>
              <a:t>am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74BB80C-6662-B20B-AFAE-8CE0227B9D5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20545" y="3548903"/>
            <a:ext cx="936000" cy="936000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wrap="none" lIns="36000" tIns="36000" rIns="36000" bIns="36000" anchor="ctr" anchorCtr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00:00</a:t>
            </a:r>
            <a:br>
              <a:rPr lang="en-GB"/>
            </a:br>
            <a:r>
              <a:rPr lang="en-US"/>
              <a:t>am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90C014B4-D61D-611F-A4FF-430ABD98617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20545" y="4724712"/>
            <a:ext cx="936000" cy="936000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wrap="none" lIns="36000" tIns="36000" rIns="36000" bIns="36000" anchor="ctr" anchorCtr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0:00</a:t>
            </a:r>
            <a:br>
              <a:rPr lang="en-GB"/>
            </a:br>
            <a:r>
              <a:rPr lang="en-US"/>
              <a:t>am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87072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D01D14-2621-FAA2-8456-FA75D5C3E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58160"/>
            <a:ext cx="11277597" cy="6578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6CD6EA-B4AA-E178-94CD-62F6904727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200"/>
            </a:lvl1pPr>
            <a:lvl2pPr>
              <a:spcBef>
                <a:spcPts val="300"/>
              </a:spcBef>
              <a:defRPr sz="2000"/>
            </a:lvl2pPr>
            <a:lvl3pPr>
              <a:spcBef>
                <a:spcPts val="300"/>
              </a:spcBef>
              <a:defRPr sz="2000"/>
            </a:lvl3pPr>
            <a:lvl4pPr>
              <a:spcBef>
                <a:spcPts val="300"/>
              </a:spcBef>
              <a:defRPr sz="2000"/>
            </a:lvl4pPr>
            <a:lvl5pPr>
              <a:spcBef>
                <a:spcPts val="300"/>
              </a:spcBef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19AA159-3B9D-3211-4AA8-1B19F882BF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6/21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EB830FF-6C5F-2FD4-4E1E-7277A5D31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1827B6-25B8-98D2-B1A3-97F9AD9A94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5011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1209D4-078A-4AA5-8039-CAF02E6D6A01}" type="datetime1">
              <a:rPr lang="en-US" smtClean="0"/>
              <a:t>6/21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3C8A52-6867-4192-3618-17366DB5B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77257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CB07A97-2153-340C-3C56-95BEA8874A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1264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CB07A97-2153-340C-3C56-95BEA8874A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7DAF95A2-635F-6DDA-4091-0944F8CABE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84895" y="2598765"/>
            <a:ext cx="5404628" cy="3493770"/>
          </a:xfrm>
          <a:custGeom>
            <a:avLst/>
            <a:gdLst>
              <a:gd name="connsiteX0" fmla="*/ 0 w 5404628"/>
              <a:gd name="connsiteY0" fmla="*/ 0 h 3493770"/>
              <a:gd name="connsiteX1" fmla="*/ 5404628 w 5404628"/>
              <a:gd name="connsiteY1" fmla="*/ 0 h 3493770"/>
              <a:gd name="connsiteX2" fmla="*/ 5404628 w 5404628"/>
              <a:gd name="connsiteY2" fmla="*/ 3071509 h 3493770"/>
              <a:gd name="connsiteX3" fmla="*/ 4982367 w 5404628"/>
              <a:gd name="connsiteY3" fmla="*/ 3493770 h 3493770"/>
              <a:gd name="connsiteX4" fmla="*/ 422261 w 5404628"/>
              <a:gd name="connsiteY4" fmla="*/ 3493770 h 3493770"/>
              <a:gd name="connsiteX5" fmla="*/ 0 w 5404628"/>
              <a:gd name="connsiteY5" fmla="*/ 3071509 h 3493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4628" h="3493770">
                <a:moveTo>
                  <a:pt x="0" y="0"/>
                </a:moveTo>
                <a:lnTo>
                  <a:pt x="5404628" y="0"/>
                </a:lnTo>
                <a:lnTo>
                  <a:pt x="5404628" y="3071509"/>
                </a:lnTo>
                <a:cubicBezTo>
                  <a:pt x="5404628" y="3304717"/>
                  <a:pt x="5215575" y="3493770"/>
                  <a:pt x="4982367" y="3493770"/>
                </a:cubicBezTo>
                <a:lnTo>
                  <a:pt x="422261" y="3493770"/>
                </a:lnTo>
                <a:cubicBezTo>
                  <a:pt x="189053" y="3493770"/>
                  <a:pt x="0" y="3304717"/>
                  <a:pt x="0" y="3071509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wrap="square" lIns="180000" tIns="360000" rIns="180000" bIns="180000" anchor="t">
            <a:noAutofit/>
          </a:bodyPr>
          <a:lstStyle>
            <a:lvl1pPr>
              <a:spcBef>
                <a:spcPts val="1000"/>
              </a:spcBef>
              <a:buClr>
                <a:schemeClr val="accent3"/>
              </a:buClr>
              <a:defRPr sz="2400"/>
            </a:lvl1pPr>
            <a:lvl2pPr>
              <a:spcBef>
                <a:spcPts val="1000"/>
              </a:spcBef>
              <a:buClr>
                <a:schemeClr val="accent3"/>
              </a:buClr>
              <a:defRPr sz="2400"/>
            </a:lvl2pPr>
            <a:lvl3pPr>
              <a:spcBef>
                <a:spcPts val="1000"/>
              </a:spcBef>
              <a:buClr>
                <a:schemeClr val="accent3"/>
              </a:buClr>
              <a:defRPr sz="2400"/>
            </a:lvl3pPr>
            <a:lvl4pPr>
              <a:spcBef>
                <a:spcPts val="1000"/>
              </a:spcBef>
              <a:buClr>
                <a:schemeClr val="accent3"/>
              </a:buClr>
              <a:defRPr sz="2400"/>
            </a:lvl4pPr>
            <a:lvl5pPr>
              <a:spcBef>
                <a:spcPts val="1000"/>
              </a:spcBef>
              <a:buClr>
                <a:schemeClr val="accent3"/>
              </a:buCl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75898194-73A1-CC87-2829-CDE6A5F40EE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02479" y="2598765"/>
            <a:ext cx="5409452" cy="3494060"/>
          </a:xfrm>
          <a:custGeom>
            <a:avLst/>
            <a:gdLst>
              <a:gd name="connsiteX0" fmla="*/ 0 w 5409452"/>
              <a:gd name="connsiteY0" fmla="*/ 0 h 3494060"/>
              <a:gd name="connsiteX1" fmla="*/ 5409452 w 5409452"/>
              <a:gd name="connsiteY1" fmla="*/ 0 h 3494060"/>
              <a:gd name="connsiteX2" fmla="*/ 5409452 w 5409452"/>
              <a:gd name="connsiteY2" fmla="*/ 3081526 h 3494060"/>
              <a:gd name="connsiteX3" fmla="*/ 4996918 w 5409452"/>
              <a:gd name="connsiteY3" fmla="*/ 3494060 h 3494060"/>
              <a:gd name="connsiteX4" fmla="*/ 412534 w 5409452"/>
              <a:gd name="connsiteY4" fmla="*/ 3494060 h 3494060"/>
              <a:gd name="connsiteX5" fmla="*/ 0 w 5409452"/>
              <a:gd name="connsiteY5" fmla="*/ 3081526 h 3494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9452" h="3494060">
                <a:moveTo>
                  <a:pt x="0" y="0"/>
                </a:moveTo>
                <a:lnTo>
                  <a:pt x="5409452" y="0"/>
                </a:lnTo>
                <a:lnTo>
                  <a:pt x="5409452" y="3081526"/>
                </a:lnTo>
                <a:cubicBezTo>
                  <a:pt x="5409452" y="3309362"/>
                  <a:pt x="5224754" y="3494060"/>
                  <a:pt x="4996918" y="3494060"/>
                </a:cubicBezTo>
                <a:lnTo>
                  <a:pt x="412534" y="3494060"/>
                </a:lnTo>
                <a:cubicBezTo>
                  <a:pt x="184698" y="3494060"/>
                  <a:pt x="0" y="3309362"/>
                  <a:pt x="0" y="3081526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wrap="square" lIns="180000" tIns="360000" rIns="180000" bIns="180000" anchor="t">
            <a:noAutofit/>
          </a:bodyPr>
          <a:lstStyle>
            <a:lvl1pPr>
              <a:spcBef>
                <a:spcPts val="1000"/>
              </a:spcBef>
              <a:defRPr sz="2400"/>
            </a:lvl1pPr>
            <a:lvl2pPr>
              <a:spcBef>
                <a:spcPts val="1000"/>
              </a:spcBef>
              <a:defRPr sz="2400"/>
            </a:lvl2pPr>
            <a:lvl3pPr>
              <a:spcBef>
                <a:spcPts val="1000"/>
              </a:spcBef>
              <a:defRPr sz="2400"/>
            </a:lvl3pPr>
            <a:lvl4pPr>
              <a:spcBef>
                <a:spcPts val="1000"/>
              </a:spcBef>
              <a:defRPr sz="2400"/>
            </a:lvl4pPr>
            <a:lvl5pPr>
              <a:spcBef>
                <a:spcPts val="1000"/>
              </a:spcBef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5A10C88-493B-6CAB-298F-D8121000C3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7BFBBC-57B3-446A-8796-3A0B205B2B27}" type="datetime1">
              <a:rPr lang="en-US" smtClean="0"/>
              <a:t>6/21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BC915E7-3CAF-308C-4138-B2172BA981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8DEE14A-07CA-1EEE-93A5-15EEACBE57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2553464D-8B5E-F3D9-4410-4277969170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B5E302-C0B7-5A31-3641-74A384120E1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4895" y="1211151"/>
            <a:ext cx="5404628" cy="1387614"/>
          </a:xfrm>
          <a:solidFill>
            <a:schemeClr val="accent3"/>
          </a:solidFill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lIns="180000" tIns="180000" rIns="180000" bIns="180000" anchor="ctr"/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subtitle 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45D118-3439-524A-149A-31A77A527F0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02479" y="1200533"/>
            <a:ext cx="5409452" cy="1398232"/>
          </a:xfrm>
          <a:solidFill>
            <a:schemeClr val="accent1"/>
          </a:solidFill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lIns="180000" tIns="180000" rIns="180000" bIns="180000" anchor="ctr"/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subtitle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79351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354849FB-7880-754B-B1A2-A01EBF94B4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0306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354849FB-7880-754B-B1A2-A01EBF94B4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A68AF4-B91E-4F8A-B832-7605C397C571}" type="datetime1">
              <a:rPr lang="en-US" smtClean="0"/>
              <a:t>6/21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3C8A52-6867-4192-3618-17366DB5B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39A2EA8D-1766-E50B-8696-368C1D93B722}"/>
              </a:ext>
            </a:extLst>
          </p:cNvPr>
          <p:cNvSpPr/>
          <p:nvPr userDrawn="1"/>
        </p:nvSpPr>
        <p:spPr>
          <a:xfrm>
            <a:off x="457201" y="1929011"/>
            <a:ext cx="3519310" cy="3975100"/>
          </a:xfrm>
          <a:prstGeom prst="round2SameRect">
            <a:avLst>
              <a:gd name="adj1" fmla="val 0"/>
              <a:gd name="adj2" fmla="val 10337"/>
            </a:avLst>
          </a:prstGeom>
          <a:solidFill>
            <a:schemeClr val="tx2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A425AD10-227B-8E04-8A8D-B0739173729D}"/>
              </a:ext>
            </a:extLst>
          </p:cNvPr>
          <p:cNvSpPr>
            <a:spLocks/>
          </p:cNvSpPr>
          <p:nvPr/>
        </p:nvSpPr>
        <p:spPr>
          <a:xfrm>
            <a:off x="4336345" y="1926052"/>
            <a:ext cx="3519310" cy="3977557"/>
          </a:xfrm>
          <a:prstGeom prst="round2SameRect">
            <a:avLst>
              <a:gd name="adj1" fmla="val 0"/>
              <a:gd name="adj2" fmla="val 10896"/>
            </a:avLst>
          </a:prstGeom>
          <a:solidFill>
            <a:schemeClr val="accent1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7B056210-DB66-55B3-1A4A-3BCBC562C14B}"/>
              </a:ext>
            </a:extLst>
          </p:cNvPr>
          <p:cNvSpPr>
            <a:spLocks/>
          </p:cNvSpPr>
          <p:nvPr/>
        </p:nvSpPr>
        <p:spPr>
          <a:xfrm>
            <a:off x="8215490" y="1929011"/>
            <a:ext cx="3519310" cy="3975100"/>
          </a:xfrm>
          <a:prstGeom prst="round2SameRect">
            <a:avLst>
              <a:gd name="adj1" fmla="val 0"/>
              <a:gd name="adj2" fmla="val 9778"/>
            </a:avLst>
          </a:prstGeom>
          <a:solidFill>
            <a:schemeClr val="accent3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2FCF950-4CCB-0347-EF69-BB858B145DEB}"/>
              </a:ext>
            </a:extLst>
          </p:cNvPr>
          <p:cNvGrpSpPr/>
          <p:nvPr/>
        </p:nvGrpSpPr>
        <p:grpSpPr>
          <a:xfrm>
            <a:off x="626561" y="1501656"/>
            <a:ext cx="3180589" cy="1662581"/>
            <a:chOff x="2800469" y="-917156"/>
            <a:chExt cx="6696862" cy="3500633"/>
          </a:xfrm>
          <a:solidFill>
            <a:schemeClr val="bg1">
              <a:alpha val="10000"/>
            </a:schemeClr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871F47F-5158-3FE0-79DA-37B148B0B1ED}"/>
                </a:ext>
              </a:extLst>
            </p:cNvPr>
            <p:cNvSpPr/>
            <p:nvPr/>
          </p:nvSpPr>
          <p:spPr>
            <a:xfrm rot="18900000" flipV="1">
              <a:off x="5996698" y="-131829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5DBBD0B-CA2C-D826-645F-E1EDD7AD23D7}"/>
                </a:ext>
              </a:extLst>
            </p:cNvPr>
            <p:cNvSpPr/>
            <p:nvPr/>
          </p:nvSpPr>
          <p:spPr>
            <a:xfrm rot="2700000" flipH="1" flipV="1">
              <a:off x="2694665" y="-131828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8CB18EA-79DF-AF8A-97E3-9265EF03EAC6}"/>
                </a:ext>
              </a:extLst>
            </p:cNvPr>
            <p:cNvSpPr/>
            <p:nvPr/>
          </p:nvSpPr>
          <p:spPr>
            <a:xfrm rot="5400000">
              <a:off x="8254363" y="-203062"/>
              <a:ext cx="934098" cy="1340225"/>
            </a:xfrm>
            <a:custGeom>
              <a:avLst/>
              <a:gdLst>
                <a:gd name="connsiteX0" fmla="*/ 0 w 934098"/>
                <a:gd name="connsiteY0" fmla="*/ 1340225 h 1340225"/>
                <a:gd name="connsiteX1" fmla="*/ 0 w 934098"/>
                <a:gd name="connsiteY1" fmla="*/ 7558 h 1340225"/>
                <a:gd name="connsiteX2" fmla="*/ 78864 w 934098"/>
                <a:gd name="connsiteY2" fmla="*/ 0 h 1340225"/>
                <a:gd name="connsiteX3" fmla="*/ 871534 w 934098"/>
                <a:gd name="connsiteY3" fmla="*/ 328335 h 1340225"/>
                <a:gd name="connsiteX4" fmla="*/ 934098 w 934098"/>
                <a:gd name="connsiteY4" fmla="*/ 390899 h 1340225"/>
                <a:gd name="connsiteX5" fmla="*/ 934098 w 934098"/>
                <a:gd name="connsiteY5" fmla="*/ 406126 h 134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098" h="1340225">
                  <a:moveTo>
                    <a:pt x="0" y="1340225"/>
                  </a:moveTo>
                  <a:lnTo>
                    <a:pt x="0" y="7558"/>
                  </a:lnTo>
                  <a:lnTo>
                    <a:pt x="78864" y="0"/>
                  </a:lnTo>
                  <a:cubicBezTo>
                    <a:pt x="365754" y="0"/>
                    <a:pt x="652644" y="109443"/>
                    <a:pt x="871534" y="328335"/>
                  </a:cubicBezTo>
                  <a:lnTo>
                    <a:pt x="934098" y="390899"/>
                  </a:lnTo>
                  <a:lnTo>
                    <a:pt x="934098" y="406126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0F0287F-2833-16C0-91B6-054563104BD8}"/>
                </a:ext>
              </a:extLst>
            </p:cNvPr>
            <p:cNvSpPr/>
            <p:nvPr/>
          </p:nvSpPr>
          <p:spPr>
            <a:xfrm rot="10800000">
              <a:off x="4345091" y="556154"/>
              <a:ext cx="3500635" cy="1929977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1A0D784-F128-E8B6-45BC-A86BC363E4E7}"/>
                </a:ext>
              </a:extLst>
            </p:cNvPr>
            <p:cNvSpPr/>
            <p:nvPr/>
          </p:nvSpPr>
          <p:spPr>
            <a:xfrm rot="16200000" flipH="1">
              <a:off x="3003533" y="-203064"/>
              <a:ext cx="934100" cy="1340228"/>
            </a:xfrm>
            <a:custGeom>
              <a:avLst/>
              <a:gdLst>
                <a:gd name="connsiteX0" fmla="*/ 0 w 934100"/>
                <a:gd name="connsiteY0" fmla="*/ 7559 h 1340228"/>
                <a:gd name="connsiteX1" fmla="*/ 0 w 934100"/>
                <a:gd name="connsiteY1" fmla="*/ 1340228 h 1340228"/>
                <a:gd name="connsiteX2" fmla="*/ 934100 w 934100"/>
                <a:gd name="connsiteY2" fmla="*/ 406127 h 1340228"/>
                <a:gd name="connsiteX3" fmla="*/ 934100 w 934100"/>
                <a:gd name="connsiteY3" fmla="*/ 390900 h 1340228"/>
                <a:gd name="connsiteX4" fmla="*/ 871536 w 934100"/>
                <a:gd name="connsiteY4" fmla="*/ 328336 h 1340228"/>
                <a:gd name="connsiteX5" fmla="*/ 78866 w 934100"/>
                <a:gd name="connsiteY5" fmla="*/ 0 h 134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100" h="1340228">
                  <a:moveTo>
                    <a:pt x="0" y="7559"/>
                  </a:moveTo>
                  <a:lnTo>
                    <a:pt x="0" y="1340228"/>
                  </a:lnTo>
                  <a:lnTo>
                    <a:pt x="934100" y="406127"/>
                  </a:lnTo>
                  <a:lnTo>
                    <a:pt x="934100" y="390900"/>
                  </a:lnTo>
                  <a:lnTo>
                    <a:pt x="871536" y="328336"/>
                  </a:lnTo>
                  <a:cubicBezTo>
                    <a:pt x="652646" y="109444"/>
                    <a:pt x="365756" y="0"/>
                    <a:pt x="78866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7500270-7B64-78E1-F7BF-19F85C7B3826}"/>
              </a:ext>
            </a:extLst>
          </p:cNvPr>
          <p:cNvGrpSpPr/>
          <p:nvPr/>
        </p:nvGrpSpPr>
        <p:grpSpPr>
          <a:xfrm>
            <a:off x="4505705" y="1494185"/>
            <a:ext cx="3180589" cy="1662581"/>
            <a:chOff x="2800469" y="-917156"/>
            <a:chExt cx="6696862" cy="3500633"/>
          </a:xfrm>
          <a:solidFill>
            <a:schemeClr val="bg1">
              <a:alpha val="10000"/>
            </a:schemeClr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1646F36-6AFB-5C39-7ADF-989EBD05691E}"/>
                </a:ext>
              </a:extLst>
            </p:cNvPr>
            <p:cNvSpPr/>
            <p:nvPr/>
          </p:nvSpPr>
          <p:spPr>
            <a:xfrm rot="18900000" flipV="1">
              <a:off x="5996698" y="-131829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EA37A41-4F6B-CFC6-13C2-46BB5A1CFC44}"/>
                </a:ext>
              </a:extLst>
            </p:cNvPr>
            <p:cNvSpPr/>
            <p:nvPr/>
          </p:nvSpPr>
          <p:spPr>
            <a:xfrm rot="2700000" flipH="1" flipV="1">
              <a:off x="2694665" y="-131828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E9A3A56-D1D8-7EFA-EFFA-8669790F7B9D}"/>
                </a:ext>
              </a:extLst>
            </p:cNvPr>
            <p:cNvSpPr/>
            <p:nvPr/>
          </p:nvSpPr>
          <p:spPr>
            <a:xfrm rot="5400000">
              <a:off x="8254363" y="-203062"/>
              <a:ext cx="934098" cy="1340225"/>
            </a:xfrm>
            <a:custGeom>
              <a:avLst/>
              <a:gdLst>
                <a:gd name="connsiteX0" fmla="*/ 0 w 934098"/>
                <a:gd name="connsiteY0" fmla="*/ 1340225 h 1340225"/>
                <a:gd name="connsiteX1" fmla="*/ 0 w 934098"/>
                <a:gd name="connsiteY1" fmla="*/ 7558 h 1340225"/>
                <a:gd name="connsiteX2" fmla="*/ 78864 w 934098"/>
                <a:gd name="connsiteY2" fmla="*/ 0 h 1340225"/>
                <a:gd name="connsiteX3" fmla="*/ 871534 w 934098"/>
                <a:gd name="connsiteY3" fmla="*/ 328335 h 1340225"/>
                <a:gd name="connsiteX4" fmla="*/ 934098 w 934098"/>
                <a:gd name="connsiteY4" fmla="*/ 390899 h 1340225"/>
                <a:gd name="connsiteX5" fmla="*/ 934098 w 934098"/>
                <a:gd name="connsiteY5" fmla="*/ 406126 h 134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098" h="1340225">
                  <a:moveTo>
                    <a:pt x="0" y="1340225"/>
                  </a:moveTo>
                  <a:lnTo>
                    <a:pt x="0" y="7558"/>
                  </a:lnTo>
                  <a:lnTo>
                    <a:pt x="78864" y="0"/>
                  </a:lnTo>
                  <a:cubicBezTo>
                    <a:pt x="365754" y="0"/>
                    <a:pt x="652644" y="109443"/>
                    <a:pt x="871534" y="328335"/>
                  </a:cubicBezTo>
                  <a:lnTo>
                    <a:pt x="934098" y="390899"/>
                  </a:lnTo>
                  <a:lnTo>
                    <a:pt x="934098" y="406126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8FF24C39-F8AF-EF5A-BAC1-F33676EA20DB}"/>
                </a:ext>
              </a:extLst>
            </p:cNvPr>
            <p:cNvSpPr/>
            <p:nvPr/>
          </p:nvSpPr>
          <p:spPr>
            <a:xfrm rot="10800000">
              <a:off x="4345091" y="556154"/>
              <a:ext cx="3500635" cy="1929977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D2881E8-ECA8-343D-1A8E-D8425FD9C4EC}"/>
                </a:ext>
              </a:extLst>
            </p:cNvPr>
            <p:cNvSpPr/>
            <p:nvPr/>
          </p:nvSpPr>
          <p:spPr>
            <a:xfrm rot="16200000" flipH="1">
              <a:off x="3003533" y="-203064"/>
              <a:ext cx="934100" cy="1340228"/>
            </a:xfrm>
            <a:custGeom>
              <a:avLst/>
              <a:gdLst>
                <a:gd name="connsiteX0" fmla="*/ 0 w 934100"/>
                <a:gd name="connsiteY0" fmla="*/ 7559 h 1340228"/>
                <a:gd name="connsiteX1" fmla="*/ 0 w 934100"/>
                <a:gd name="connsiteY1" fmla="*/ 1340228 h 1340228"/>
                <a:gd name="connsiteX2" fmla="*/ 934100 w 934100"/>
                <a:gd name="connsiteY2" fmla="*/ 406127 h 1340228"/>
                <a:gd name="connsiteX3" fmla="*/ 934100 w 934100"/>
                <a:gd name="connsiteY3" fmla="*/ 390900 h 1340228"/>
                <a:gd name="connsiteX4" fmla="*/ 871536 w 934100"/>
                <a:gd name="connsiteY4" fmla="*/ 328336 h 1340228"/>
                <a:gd name="connsiteX5" fmla="*/ 78866 w 934100"/>
                <a:gd name="connsiteY5" fmla="*/ 0 h 134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100" h="1340228">
                  <a:moveTo>
                    <a:pt x="0" y="7559"/>
                  </a:moveTo>
                  <a:lnTo>
                    <a:pt x="0" y="1340228"/>
                  </a:lnTo>
                  <a:lnTo>
                    <a:pt x="934100" y="406127"/>
                  </a:lnTo>
                  <a:lnTo>
                    <a:pt x="934100" y="390900"/>
                  </a:lnTo>
                  <a:lnTo>
                    <a:pt x="871536" y="328336"/>
                  </a:lnTo>
                  <a:cubicBezTo>
                    <a:pt x="652646" y="109444"/>
                    <a:pt x="365756" y="0"/>
                    <a:pt x="78866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3E9CB13-E5BD-75D0-4B11-B298E424040E}"/>
              </a:ext>
            </a:extLst>
          </p:cNvPr>
          <p:cNvGrpSpPr/>
          <p:nvPr/>
        </p:nvGrpSpPr>
        <p:grpSpPr>
          <a:xfrm>
            <a:off x="8384851" y="1501655"/>
            <a:ext cx="3180589" cy="1662581"/>
            <a:chOff x="2800469" y="-917156"/>
            <a:chExt cx="6696862" cy="3500633"/>
          </a:xfrm>
          <a:solidFill>
            <a:schemeClr val="bg1">
              <a:alpha val="10000"/>
            </a:schemeClr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2D221A5-D2FE-5EEC-BBA4-5CDFCE5B76DB}"/>
                </a:ext>
              </a:extLst>
            </p:cNvPr>
            <p:cNvSpPr/>
            <p:nvPr/>
          </p:nvSpPr>
          <p:spPr>
            <a:xfrm rot="18900000" flipV="1">
              <a:off x="5996698" y="-131829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188C425-746E-CBF8-CD22-DA4F1662334B}"/>
                </a:ext>
              </a:extLst>
            </p:cNvPr>
            <p:cNvSpPr/>
            <p:nvPr/>
          </p:nvSpPr>
          <p:spPr>
            <a:xfrm rot="2700000" flipH="1" flipV="1">
              <a:off x="2694665" y="-131828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46A2352-05BF-19F9-18D3-76D1A0EA283E}"/>
                </a:ext>
              </a:extLst>
            </p:cNvPr>
            <p:cNvSpPr/>
            <p:nvPr/>
          </p:nvSpPr>
          <p:spPr>
            <a:xfrm rot="5400000">
              <a:off x="8254363" y="-203062"/>
              <a:ext cx="934098" cy="1340225"/>
            </a:xfrm>
            <a:custGeom>
              <a:avLst/>
              <a:gdLst>
                <a:gd name="connsiteX0" fmla="*/ 0 w 934098"/>
                <a:gd name="connsiteY0" fmla="*/ 1340225 h 1340225"/>
                <a:gd name="connsiteX1" fmla="*/ 0 w 934098"/>
                <a:gd name="connsiteY1" fmla="*/ 7558 h 1340225"/>
                <a:gd name="connsiteX2" fmla="*/ 78864 w 934098"/>
                <a:gd name="connsiteY2" fmla="*/ 0 h 1340225"/>
                <a:gd name="connsiteX3" fmla="*/ 871534 w 934098"/>
                <a:gd name="connsiteY3" fmla="*/ 328335 h 1340225"/>
                <a:gd name="connsiteX4" fmla="*/ 934098 w 934098"/>
                <a:gd name="connsiteY4" fmla="*/ 390899 h 1340225"/>
                <a:gd name="connsiteX5" fmla="*/ 934098 w 934098"/>
                <a:gd name="connsiteY5" fmla="*/ 406126 h 134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098" h="1340225">
                  <a:moveTo>
                    <a:pt x="0" y="1340225"/>
                  </a:moveTo>
                  <a:lnTo>
                    <a:pt x="0" y="7558"/>
                  </a:lnTo>
                  <a:lnTo>
                    <a:pt x="78864" y="0"/>
                  </a:lnTo>
                  <a:cubicBezTo>
                    <a:pt x="365754" y="0"/>
                    <a:pt x="652644" y="109443"/>
                    <a:pt x="871534" y="328335"/>
                  </a:cubicBezTo>
                  <a:lnTo>
                    <a:pt x="934098" y="390899"/>
                  </a:lnTo>
                  <a:lnTo>
                    <a:pt x="934098" y="406126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5E574C3-2BCE-A362-669E-BFD6B00D8BCD}"/>
                </a:ext>
              </a:extLst>
            </p:cNvPr>
            <p:cNvSpPr/>
            <p:nvPr/>
          </p:nvSpPr>
          <p:spPr>
            <a:xfrm rot="10800000">
              <a:off x="4345091" y="556154"/>
              <a:ext cx="3500635" cy="1929977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4BC7484-0ED2-5E84-3C7F-1189F7F9CFE8}"/>
                </a:ext>
              </a:extLst>
            </p:cNvPr>
            <p:cNvSpPr/>
            <p:nvPr/>
          </p:nvSpPr>
          <p:spPr>
            <a:xfrm rot="16200000" flipH="1">
              <a:off x="3003533" y="-203064"/>
              <a:ext cx="934100" cy="1340228"/>
            </a:xfrm>
            <a:custGeom>
              <a:avLst/>
              <a:gdLst>
                <a:gd name="connsiteX0" fmla="*/ 0 w 934100"/>
                <a:gd name="connsiteY0" fmla="*/ 7559 h 1340228"/>
                <a:gd name="connsiteX1" fmla="*/ 0 w 934100"/>
                <a:gd name="connsiteY1" fmla="*/ 1340228 h 1340228"/>
                <a:gd name="connsiteX2" fmla="*/ 934100 w 934100"/>
                <a:gd name="connsiteY2" fmla="*/ 406127 h 1340228"/>
                <a:gd name="connsiteX3" fmla="*/ 934100 w 934100"/>
                <a:gd name="connsiteY3" fmla="*/ 390900 h 1340228"/>
                <a:gd name="connsiteX4" fmla="*/ 871536 w 934100"/>
                <a:gd name="connsiteY4" fmla="*/ 328336 h 1340228"/>
                <a:gd name="connsiteX5" fmla="*/ 78866 w 934100"/>
                <a:gd name="connsiteY5" fmla="*/ 0 h 134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100" h="1340228">
                  <a:moveTo>
                    <a:pt x="0" y="7559"/>
                  </a:moveTo>
                  <a:lnTo>
                    <a:pt x="0" y="1340228"/>
                  </a:lnTo>
                  <a:lnTo>
                    <a:pt x="934100" y="406127"/>
                  </a:lnTo>
                  <a:lnTo>
                    <a:pt x="934100" y="390900"/>
                  </a:lnTo>
                  <a:lnTo>
                    <a:pt x="871536" y="328336"/>
                  </a:lnTo>
                  <a:cubicBezTo>
                    <a:pt x="652646" y="109444"/>
                    <a:pt x="365756" y="0"/>
                    <a:pt x="78866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6F5986-85EB-DF07-26FC-1D6ED8DC4C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7451" y="3052861"/>
            <a:ext cx="3058808" cy="2808287"/>
          </a:xfrm>
        </p:spPr>
        <p:txBody>
          <a:bodyPr anchor="ctr"/>
          <a:lstStyle>
            <a:lvl1pPr>
              <a:buClr>
                <a:schemeClr val="bg1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0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8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A53DEBAC-5F84-D841-03C0-2633BEAF05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66595" y="3052861"/>
            <a:ext cx="3058808" cy="2808287"/>
          </a:xfrm>
        </p:spPr>
        <p:txBody>
          <a:bodyPr anchor="ctr"/>
          <a:lstStyle>
            <a:lvl1pPr>
              <a:buClr>
                <a:schemeClr val="bg1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0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8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88B960CD-03E0-5713-D335-B07A069426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435094" y="3050169"/>
            <a:ext cx="3069454" cy="2810980"/>
          </a:xfrm>
        </p:spPr>
        <p:txBody>
          <a:bodyPr anchor="ctr"/>
          <a:lstStyle>
            <a:lvl1pPr>
              <a:buClr>
                <a:schemeClr val="bg1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0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8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CF745E8E-305A-258F-A772-89238F000A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7451" y="1437855"/>
            <a:ext cx="3069447" cy="1379001"/>
          </a:xfrm>
        </p:spPr>
        <p:txBody>
          <a:bodyPr lIns="72000" anchor="ctr" anchorCtr="0"/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stay within the text box.</a:t>
            </a:r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665AE713-64A0-62C5-9B25-B3188627E2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90998" y="1429587"/>
            <a:ext cx="3069447" cy="1387969"/>
          </a:xfrm>
        </p:spPr>
        <p:txBody>
          <a:bodyPr lIns="72000" anchor="ctr" anchorCtr="0"/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stay within the text box.</a:t>
            </a:r>
          </a:p>
        </p:txBody>
      </p:sp>
      <p:sp>
        <p:nvSpPr>
          <p:cNvPr id="38" name="Text Placeholder 33">
            <a:extLst>
              <a:ext uri="{FF2B5EF4-FFF2-40B4-BE49-F238E27FC236}">
                <a16:creationId xmlns:a16="http://schemas.microsoft.com/office/drawing/2014/main" id="{217EB06B-0024-06D0-ADF8-A2474B8CC9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35094" y="1429587"/>
            <a:ext cx="3069447" cy="1387969"/>
          </a:xfrm>
        </p:spPr>
        <p:txBody>
          <a:bodyPr lIns="72000" anchor="ctr" anchorCtr="0"/>
          <a:lstStyle>
            <a:lvl1pPr marL="0" indent="0" algn="ctr" rtl="0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stay within the text box.</a:t>
            </a:r>
          </a:p>
        </p:txBody>
      </p:sp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978FE9BC-D6D0-FF29-76D4-C4241B770A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20306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35" name="Object 34" hidden="1">
                        <a:extLst>
                          <a:ext uri="{FF2B5EF4-FFF2-40B4-BE49-F238E27FC236}">
                            <a16:creationId xmlns:a16="http://schemas.microsoft.com/office/drawing/2014/main" id="{978FE9BC-D6D0-FF29-76D4-C4241B770A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70597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: Top Corners Rounded 34">
            <a:extLst>
              <a:ext uri="{FF2B5EF4-FFF2-40B4-BE49-F238E27FC236}">
                <a16:creationId xmlns:a16="http://schemas.microsoft.com/office/drawing/2014/main" id="{D9DBEB03-B3B9-8BA1-DF6C-D87168734A96}"/>
              </a:ext>
            </a:extLst>
          </p:cNvPr>
          <p:cNvSpPr/>
          <p:nvPr/>
        </p:nvSpPr>
        <p:spPr>
          <a:xfrm>
            <a:off x="457200" y="1188377"/>
            <a:ext cx="2727091" cy="4904448"/>
          </a:xfrm>
          <a:prstGeom prst="round2SameRect">
            <a:avLst>
              <a:gd name="adj1" fmla="val 2245"/>
              <a:gd name="adj2" fmla="val 11069"/>
            </a:avLst>
          </a:prstGeom>
          <a:solidFill>
            <a:schemeClr val="tx2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: Top Corners Rounded 35">
            <a:extLst>
              <a:ext uri="{FF2B5EF4-FFF2-40B4-BE49-F238E27FC236}">
                <a16:creationId xmlns:a16="http://schemas.microsoft.com/office/drawing/2014/main" id="{18C2826F-0757-47CA-6AD9-B8B9B5E69890}"/>
              </a:ext>
            </a:extLst>
          </p:cNvPr>
          <p:cNvSpPr>
            <a:spLocks/>
          </p:cNvSpPr>
          <p:nvPr/>
        </p:nvSpPr>
        <p:spPr>
          <a:xfrm>
            <a:off x="3303660" y="1188377"/>
            <a:ext cx="2727091" cy="4904448"/>
          </a:xfrm>
          <a:prstGeom prst="round2SameRect">
            <a:avLst>
              <a:gd name="adj1" fmla="val 0"/>
              <a:gd name="adj2" fmla="val 10338"/>
            </a:avLst>
          </a:prstGeom>
          <a:solidFill>
            <a:schemeClr val="accent1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11C729C8-9521-FC15-6909-AA67737D4CDC}"/>
              </a:ext>
            </a:extLst>
          </p:cNvPr>
          <p:cNvSpPr>
            <a:spLocks/>
          </p:cNvSpPr>
          <p:nvPr/>
        </p:nvSpPr>
        <p:spPr>
          <a:xfrm>
            <a:off x="6150120" y="1188377"/>
            <a:ext cx="2727091" cy="4904448"/>
          </a:xfrm>
          <a:prstGeom prst="round2SameRect">
            <a:avLst>
              <a:gd name="adj1" fmla="val 0"/>
              <a:gd name="adj2" fmla="val 10804"/>
            </a:avLst>
          </a:prstGeom>
          <a:solidFill>
            <a:schemeClr val="accent3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23CFA15-26AF-0F91-96B9-CC62BD69083B}"/>
              </a:ext>
            </a:extLst>
          </p:cNvPr>
          <p:cNvGrpSpPr/>
          <p:nvPr/>
        </p:nvGrpSpPr>
        <p:grpSpPr>
          <a:xfrm>
            <a:off x="645016" y="870120"/>
            <a:ext cx="2351459" cy="1229172"/>
            <a:chOff x="2800469" y="-917156"/>
            <a:chExt cx="6696862" cy="3500633"/>
          </a:xfrm>
          <a:solidFill>
            <a:schemeClr val="bg1">
              <a:alpha val="10000"/>
            </a:schemeClr>
          </a:solidFill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4E91725-B867-3418-E53D-33C665B47E14}"/>
                </a:ext>
              </a:extLst>
            </p:cNvPr>
            <p:cNvSpPr/>
            <p:nvPr/>
          </p:nvSpPr>
          <p:spPr>
            <a:xfrm rot="18900000" flipV="1">
              <a:off x="5996698" y="-131829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A65CC5B5-FED1-6585-A8DB-6A78E9A040FD}"/>
                </a:ext>
              </a:extLst>
            </p:cNvPr>
            <p:cNvSpPr/>
            <p:nvPr/>
          </p:nvSpPr>
          <p:spPr>
            <a:xfrm rot="2700000" flipH="1" flipV="1">
              <a:off x="2694665" y="-131828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F9EB378-1372-BB1A-036F-31C44DDC33F1}"/>
                </a:ext>
              </a:extLst>
            </p:cNvPr>
            <p:cNvSpPr/>
            <p:nvPr/>
          </p:nvSpPr>
          <p:spPr>
            <a:xfrm rot="5400000">
              <a:off x="8254363" y="-203062"/>
              <a:ext cx="934098" cy="1340225"/>
            </a:xfrm>
            <a:custGeom>
              <a:avLst/>
              <a:gdLst>
                <a:gd name="connsiteX0" fmla="*/ 0 w 934098"/>
                <a:gd name="connsiteY0" fmla="*/ 1340225 h 1340225"/>
                <a:gd name="connsiteX1" fmla="*/ 0 w 934098"/>
                <a:gd name="connsiteY1" fmla="*/ 7558 h 1340225"/>
                <a:gd name="connsiteX2" fmla="*/ 78864 w 934098"/>
                <a:gd name="connsiteY2" fmla="*/ 0 h 1340225"/>
                <a:gd name="connsiteX3" fmla="*/ 871534 w 934098"/>
                <a:gd name="connsiteY3" fmla="*/ 328335 h 1340225"/>
                <a:gd name="connsiteX4" fmla="*/ 934098 w 934098"/>
                <a:gd name="connsiteY4" fmla="*/ 390899 h 1340225"/>
                <a:gd name="connsiteX5" fmla="*/ 934098 w 934098"/>
                <a:gd name="connsiteY5" fmla="*/ 406126 h 134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098" h="1340225">
                  <a:moveTo>
                    <a:pt x="0" y="1340225"/>
                  </a:moveTo>
                  <a:lnTo>
                    <a:pt x="0" y="7558"/>
                  </a:lnTo>
                  <a:lnTo>
                    <a:pt x="78864" y="0"/>
                  </a:lnTo>
                  <a:cubicBezTo>
                    <a:pt x="365754" y="0"/>
                    <a:pt x="652644" y="109443"/>
                    <a:pt x="871534" y="328335"/>
                  </a:cubicBezTo>
                  <a:lnTo>
                    <a:pt x="934098" y="390899"/>
                  </a:lnTo>
                  <a:lnTo>
                    <a:pt x="934098" y="406126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55043A50-B38D-7227-ECD9-5589FF0D78B2}"/>
                </a:ext>
              </a:extLst>
            </p:cNvPr>
            <p:cNvSpPr/>
            <p:nvPr/>
          </p:nvSpPr>
          <p:spPr>
            <a:xfrm rot="10800000">
              <a:off x="4345091" y="556154"/>
              <a:ext cx="3500635" cy="1929977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E32C587-9027-6896-F784-480501623D30}"/>
                </a:ext>
              </a:extLst>
            </p:cNvPr>
            <p:cNvSpPr/>
            <p:nvPr/>
          </p:nvSpPr>
          <p:spPr>
            <a:xfrm rot="16200000" flipH="1">
              <a:off x="3003533" y="-203064"/>
              <a:ext cx="934100" cy="1340228"/>
            </a:xfrm>
            <a:custGeom>
              <a:avLst/>
              <a:gdLst>
                <a:gd name="connsiteX0" fmla="*/ 0 w 934100"/>
                <a:gd name="connsiteY0" fmla="*/ 7559 h 1340228"/>
                <a:gd name="connsiteX1" fmla="*/ 0 w 934100"/>
                <a:gd name="connsiteY1" fmla="*/ 1340228 h 1340228"/>
                <a:gd name="connsiteX2" fmla="*/ 934100 w 934100"/>
                <a:gd name="connsiteY2" fmla="*/ 406127 h 1340228"/>
                <a:gd name="connsiteX3" fmla="*/ 934100 w 934100"/>
                <a:gd name="connsiteY3" fmla="*/ 390900 h 1340228"/>
                <a:gd name="connsiteX4" fmla="*/ 871536 w 934100"/>
                <a:gd name="connsiteY4" fmla="*/ 328336 h 1340228"/>
                <a:gd name="connsiteX5" fmla="*/ 78866 w 934100"/>
                <a:gd name="connsiteY5" fmla="*/ 0 h 134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100" h="1340228">
                  <a:moveTo>
                    <a:pt x="0" y="7559"/>
                  </a:moveTo>
                  <a:lnTo>
                    <a:pt x="0" y="1340228"/>
                  </a:lnTo>
                  <a:lnTo>
                    <a:pt x="934100" y="406127"/>
                  </a:lnTo>
                  <a:lnTo>
                    <a:pt x="934100" y="390900"/>
                  </a:lnTo>
                  <a:lnTo>
                    <a:pt x="871536" y="328336"/>
                  </a:lnTo>
                  <a:cubicBezTo>
                    <a:pt x="652646" y="109444"/>
                    <a:pt x="365756" y="0"/>
                    <a:pt x="78866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8C7A8FDA-AB0E-F721-FE99-D6F7EA43E8F9}"/>
              </a:ext>
            </a:extLst>
          </p:cNvPr>
          <p:cNvGrpSpPr/>
          <p:nvPr/>
        </p:nvGrpSpPr>
        <p:grpSpPr>
          <a:xfrm>
            <a:off x="3491476" y="870120"/>
            <a:ext cx="2351459" cy="1229172"/>
            <a:chOff x="2800469" y="-917156"/>
            <a:chExt cx="6696862" cy="3500633"/>
          </a:xfrm>
          <a:solidFill>
            <a:schemeClr val="bg1">
              <a:alpha val="10000"/>
            </a:schemeClr>
          </a:solidFill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41EF789-EFAD-A2A5-451F-A127954C1BEF}"/>
                </a:ext>
              </a:extLst>
            </p:cNvPr>
            <p:cNvSpPr/>
            <p:nvPr/>
          </p:nvSpPr>
          <p:spPr>
            <a:xfrm rot="18900000" flipV="1">
              <a:off x="5996698" y="-131829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82C49BE-CA3F-AEDA-5373-1D8C2ED6D732}"/>
                </a:ext>
              </a:extLst>
            </p:cNvPr>
            <p:cNvSpPr/>
            <p:nvPr/>
          </p:nvSpPr>
          <p:spPr>
            <a:xfrm rot="2700000" flipH="1" flipV="1">
              <a:off x="2694665" y="-131828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A32A27C6-66B5-624E-9547-74B602A100E6}"/>
                </a:ext>
              </a:extLst>
            </p:cNvPr>
            <p:cNvSpPr/>
            <p:nvPr/>
          </p:nvSpPr>
          <p:spPr>
            <a:xfrm rot="5400000">
              <a:off x="8254363" y="-203062"/>
              <a:ext cx="934098" cy="1340225"/>
            </a:xfrm>
            <a:custGeom>
              <a:avLst/>
              <a:gdLst>
                <a:gd name="connsiteX0" fmla="*/ 0 w 934098"/>
                <a:gd name="connsiteY0" fmla="*/ 1340225 h 1340225"/>
                <a:gd name="connsiteX1" fmla="*/ 0 w 934098"/>
                <a:gd name="connsiteY1" fmla="*/ 7558 h 1340225"/>
                <a:gd name="connsiteX2" fmla="*/ 78864 w 934098"/>
                <a:gd name="connsiteY2" fmla="*/ 0 h 1340225"/>
                <a:gd name="connsiteX3" fmla="*/ 871534 w 934098"/>
                <a:gd name="connsiteY3" fmla="*/ 328335 h 1340225"/>
                <a:gd name="connsiteX4" fmla="*/ 934098 w 934098"/>
                <a:gd name="connsiteY4" fmla="*/ 390899 h 1340225"/>
                <a:gd name="connsiteX5" fmla="*/ 934098 w 934098"/>
                <a:gd name="connsiteY5" fmla="*/ 406126 h 134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098" h="1340225">
                  <a:moveTo>
                    <a:pt x="0" y="1340225"/>
                  </a:moveTo>
                  <a:lnTo>
                    <a:pt x="0" y="7558"/>
                  </a:lnTo>
                  <a:lnTo>
                    <a:pt x="78864" y="0"/>
                  </a:lnTo>
                  <a:cubicBezTo>
                    <a:pt x="365754" y="0"/>
                    <a:pt x="652644" y="109443"/>
                    <a:pt x="871534" y="328335"/>
                  </a:cubicBezTo>
                  <a:lnTo>
                    <a:pt x="934098" y="390899"/>
                  </a:lnTo>
                  <a:lnTo>
                    <a:pt x="934098" y="406126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F1A11C1-00AF-4B07-4696-BD51A46162ED}"/>
                </a:ext>
              </a:extLst>
            </p:cNvPr>
            <p:cNvSpPr/>
            <p:nvPr/>
          </p:nvSpPr>
          <p:spPr>
            <a:xfrm rot="10800000">
              <a:off x="4345091" y="556154"/>
              <a:ext cx="3500635" cy="1929977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35126FF4-767B-89D5-9C3A-682E9DC07B65}"/>
                </a:ext>
              </a:extLst>
            </p:cNvPr>
            <p:cNvSpPr/>
            <p:nvPr/>
          </p:nvSpPr>
          <p:spPr>
            <a:xfrm rot="16200000" flipH="1">
              <a:off x="3003533" y="-203064"/>
              <a:ext cx="934100" cy="1340228"/>
            </a:xfrm>
            <a:custGeom>
              <a:avLst/>
              <a:gdLst>
                <a:gd name="connsiteX0" fmla="*/ 0 w 934100"/>
                <a:gd name="connsiteY0" fmla="*/ 7559 h 1340228"/>
                <a:gd name="connsiteX1" fmla="*/ 0 w 934100"/>
                <a:gd name="connsiteY1" fmla="*/ 1340228 h 1340228"/>
                <a:gd name="connsiteX2" fmla="*/ 934100 w 934100"/>
                <a:gd name="connsiteY2" fmla="*/ 406127 h 1340228"/>
                <a:gd name="connsiteX3" fmla="*/ 934100 w 934100"/>
                <a:gd name="connsiteY3" fmla="*/ 390900 h 1340228"/>
                <a:gd name="connsiteX4" fmla="*/ 871536 w 934100"/>
                <a:gd name="connsiteY4" fmla="*/ 328336 h 1340228"/>
                <a:gd name="connsiteX5" fmla="*/ 78866 w 934100"/>
                <a:gd name="connsiteY5" fmla="*/ 0 h 134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100" h="1340228">
                  <a:moveTo>
                    <a:pt x="0" y="7559"/>
                  </a:moveTo>
                  <a:lnTo>
                    <a:pt x="0" y="1340228"/>
                  </a:lnTo>
                  <a:lnTo>
                    <a:pt x="934100" y="406127"/>
                  </a:lnTo>
                  <a:lnTo>
                    <a:pt x="934100" y="390900"/>
                  </a:lnTo>
                  <a:lnTo>
                    <a:pt x="871536" y="328336"/>
                  </a:lnTo>
                  <a:cubicBezTo>
                    <a:pt x="652646" y="109444"/>
                    <a:pt x="365756" y="0"/>
                    <a:pt x="78866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0799616B-FDC8-73F9-AAB9-B097532EF8DE}"/>
              </a:ext>
            </a:extLst>
          </p:cNvPr>
          <p:cNvGrpSpPr/>
          <p:nvPr/>
        </p:nvGrpSpPr>
        <p:grpSpPr>
          <a:xfrm>
            <a:off x="6337936" y="870120"/>
            <a:ext cx="2351459" cy="1229172"/>
            <a:chOff x="2800469" y="-917156"/>
            <a:chExt cx="6696862" cy="3500633"/>
          </a:xfrm>
          <a:solidFill>
            <a:schemeClr val="bg1">
              <a:alpha val="10000"/>
            </a:schemeClr>
          </a:solidFill>
        </p:grpSpPr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7F0F8EFC-D5B2-D830-ACB2-6744C96CA451}"/>
                </a:ext>
              </a:extLst>
            </p:cNvPr>
            <p:cNvSpPr/>
            <p:nvPr/>
          </p:nvSpPr>
          <p:spPr>
            <a:xfrm rot="18900000" flipV="1">
              <a:off x="5996698" y="-131829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F908C9AF-CE8C-D688-D1A1-A4652D8CD4FD}"/>
                </a:ext>
              </a:extLst>
            </p:cNvPr>
            <p:cNvSpPr/>
            <p:nvPr/>
          </p:nvSpPr>
          <p:spPr>
            <a:xfrm rot="2700000" flipH="1" flipV="1">
              <a:off x="2694665" y="-131828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06C3E78-9DB7-913D-0425-AFDE7D4CBBF0}"/>
                </a:ext>
              </a:extLst>
            </p:cNvPr>
            <p:cNvSpPr/>
            <p:nvPr/>
          </p:nvSpPr>
          <p:spPr>
            <a:xfrm rot="5400000">
              <a:off x="8254363" y="-203062"/>
              <a:ext cx="934098" cy="1340225"/>
            </a:xfrm>
            <a:custGeom>
              <a:avLst/>
              <a:gdLst>
                <a:gd name="connsiteX0" fmla="*/ 0 w 934098"/>
                <a:gd name="connsiteY0" fmla="*/ 1340225 h 1340225"/>
                <a:gd name="connsiteX1" fmla="*/ 0 w 934098"/>
                <a:gd name="connsiteY1" fmla="*/ 7558 h 1340225"/>
                <a:gd name="connsiteX2" fmla="*/ 78864 w 934098"/>
                <a:gd name="connsiteY2" fmla="*/ 0 h 1340225"/>
                <a:gd name="connsiteX3" fmla="*/ 871534 w 934098"/>
                <a:gd name="connsiteY3" fmla="*/ 328335 h 1340225"/>
                <a:gd name="connsiteX4" fmla="*/ 934098 w 934098"/>
                <a:gd name="connsiteY4" fmla="*/ 390899 h 1340225"/>
                <a:gd name="connsiteX5" fmla="*/ 934098 w 934098"/>
                <a:gd name="connsiteY5" fmla="*/ 406126 h 134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098" h="1340225">
                  <a:moveTo>
                    <a:pt x="0" y="1340225"/>
                  </a:moveTo>
                  <a:lnTo>
                    <a:pt x="0" y="7558"/>
                  </a:lnTo>
                  <a:lnTo>
                    <a:pt x="78864" y="0"/>
                  </a:lnTo>
                  <a:cubicBezTo>
                    <a:pt x="365754" y="0"/>
                    <a:pt x="652644" y="109443"/>
                    <a:pt x="871534" y="328335"/>
                  </a:cubicBezTo>
                  <a:lnTo>
                    <a:pt x="934098" y="390899"/>
                  </a:lnTo>
                  <a:lnTo>
                    <a:pt x="934098" y="406126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E88D2DA-35BE-633D-0E62-4473A18FB2C1}"/>
                </a:ext>
              </a:extLst>
            </p:cNvPr>
            <p:cNvSpPr/>
            <p:nvPr/>
          </p:nvSpPr>
          <p:spPr>
            <a:xfrm rot="10800000">
              <a:off x="4345091" y="556154"/>
              <a:ext cx="3500635" cy="1929977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DE140BF-8F42-0F58-6761-26A433E05669}"/>
                </a:ext>
              </a:extLst>
            </p:cNvPr>
            <p:cNvSpPr/>
            <p:nvPr/>
          </p:nvSpPr>
          <p:spPr>
            <a:xfrm rot="16200000" flipH="1">
              <a:off x="3003533" y="-203064"/>
              <a:ext cx="934100" cy="1340228"/>
            </a:xfrm>
            <a:custGeom>
              <a:avLst/>
              <a:gdLst>
                <a:gd name="connsiteX0" fmla="*/ 0 w 934100"/>
                <a:gd name="connsiteY0" fmla="*/ 7559 h 1340228"/>
                <a:gd name="connsiteX1" fmla="*/ 0 w 934100"/>
                <a:gd name="connsiteY1" fmla="*/ 1340228 h 1340228"/>
                <a:gd name="connsiteX2" fmla="*/ 934100 w 934100"/>
                <a:gd name="connsiteY2" fmla="*/ 406127 h 1340228"/>
                <a:gd name="connsiteX3" fmla="*/ 934100 w 934100"/>
                <a:gd name="connsiteY3" fmla="*/ 390900 h 1340228"/>
                <a:gd name="connsiteX4" fmla="*/ 871536 w 934100"/>
                <a:gd name="connsiteY4" fmla="*/ 328336 h 1340228"/>
                <a:gd name="connsiteX5" fmla="*/ 78866 w 934100"/>
                <a:gd name="connsiteY5" fmla="*/ 0 h 134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100" h="1340228">
                  <a:moveTo>
                    <a:pt x="0" y="7559"/>
                  </a:moveTo>
                  <a:lnTo>
                    <a:pt x="0" y="1340228"/>
                  </a:lnTo>
                  <a:lnTo>
                    <a:pt x="934100" y="406127"/>
                  </a:lnTo>
                  <a:lnTo>
                    <a:pt x="934100" y="390900"/>
                  </a:lnTo>
                  <a:lnTo>
                    <a:pt x="871536" y="328336"/>
                  </a:lnTo>
                  <a:cubicBezTo>
                    <a:pt x="652646" y="109444"/>
                    <a:pt x="365756" y="0"/>
                    <a:pt x="78866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58" name="Rectangle: Top Corners Rounded 57">
            <a:extLst>
              <a:ext uri="{FF2B5EF4-FFF2-40B4-BE49-F238E27FC236}">
                <a16:creationId xmlns:a16="http://schemas.microsoft.com/office/drawing/2014/main" id="{84E08997-BC6B-5755-6492-0F4DB09DB316}"/>
              </a:ext>
            </a:extLst>
          </p:cNvPr>
          <p:cNvSpPr>
            <a:spLocks/>
          </p:cNvSpPr>
          <p:nvPr/>
        </p:nvSpPr>
        <p:spPr>
          <a:xfrm>
            <a:off x="8996580" y="1188377"/>
            <a:ext cx="2727091" cy="4904448"/>
          </a:xfrm>
          <a:prstGeom prst="round2SameRect">
            <a:avLst>
              <a:gd name="adj1" fmla="val 0"/>
              <a:gd name="adj2" fmla="val 10618"/>
            </a:avLst>
          </a:prstGeom>
          <a:solidFill>
            <a:schemeClr val="accent4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E4A58BE3-D749-2953-966F-68450758825B}"/>
              </a:ext>
            </a:extLst>
          </p:cNvPr>
          <p:cNvGrpSpPr/>
          <p:nvPr/>
        </p:nvGrpSpPr>
        <p:grpSpPr>
          <a:xfrm>
            <a:off x="9184396" y="870120"/>
            <a:ext cx="2351459" cy="1229172"/>
            <a:chOff x="2800469" y="-917156"/>
            <a:chExt cx="6696862" cy="3500633"/>
          </a:xfrm>
          <a:solidFill>
            <a:schemeClr val="bg1">
              <a:alpha val="10000"/>
            </a:schemeClr>
          </a:solidFill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F761E687-0C48-7B2C-2946-761FFD9E3346}"/>
                </a:ext>
              </a:extLst>
            </p:cNvPr>
            <p:cNvSpPr/>
            <p:nvPr/>
          </p:nvSpPr>
          <p:spPr>
            <a:xfrm rot="18900000" flipV="1">
              <a:off x="5996698" y="-131829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07CFDEA5-5D33-954A-4216-A0E0192145A9}"/>
                </a:ext>
              </a:extLst>
            </p:cNvPr>
            <p:cNvSpPr/>
            <p:nvPr/>
          </p:nvSpPr>
          <p:spPr>
            <a:xfrm rot="2700000" flipH="1" flipV="1">
              <a:off x="2694665" y="-131828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92B1BD2D-A908-54C9-89C2-BCCF6A3BD5FF}"/>
                </a:ext>
              </a:extLst>
            </p:cNvPr>
            <p:cNvSpPr/>
            <p:nvPr/>
          </p:nvSpPr>
          <p:spPr>
            <a:xfrm rot="5400000">
              <a:off x="8254363" y="-203062"/>
              <a:ext cx="934098" cy="1340225"/>
            </a:xfrm>
            <a:custGeom>
              <a:avLst/>
              <a:gdLst>
                <a:gd name="connsiteX0" fmla="*/ 0 w 934098"/>
                <a:gd name="connsiteY0" fmla="*/ 1340225 h 1340225"/>
                <a:gd name="connsiteX1" fmla="*/ 0 w 934098"/>
                <a:gd name="connsiteY1" fmla="*/ 7558 h 1340225"/>
                <a:gd name="connsiteX2" fmla="*/ 78864 w 934098"/>
                <a:gd name="connsiteY2" fmla="*/ 0 h 1340225"/>
                <a:gd name="connsiteX3" fmla="*/ 871534 w 934098"/>
                <a:gd name="connsiteY3" fmla="*/ 328335 h 1340225"/>
                <a:gd name="connsiteX4" fmla="*/ 934098 w 934098"/>
                <a:gd name="connsiteY4" fmla="*/ 390899 h 1340225"/>
                <a:gd name="connsiteX5" fmla="*/ 934098 w 934098"/>
                <a:gd name="connsiteY5" fmla="*/ 406126 h 134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098" h="1340225">
                  <a:moveTo>
                    <a:pt x="0" y="1340225"/>
                  </a:moveTo>
                  <a:lnTo>
                    <a:pt x="0" y="7558"/>
                  </a:lnTo>
                  <a:lnTo>
                    <a:pt x="78864" y="0"/>
                  </a:lnTo>
                  <a:cubicBezTo>
                    <a:pt x="365754" y="0"/>
                    <a:pt x="652644" y="109443"/>
                    <a:pt x="871534" y="328335"/>
                  </a:cubicBezTo>
                  <a:lnTo>
                    <a:pt x="934098" y="390899"/>
                  </a:lnTo>
                  <a:lnTo>
                    <a:pt x="934098" y="406126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0417D789-5D59-96B4-8F04-FA1DD72D85B5}"/>
                </a:ext>
              </a:extLst>
            </p:cNvPr>
            <p:cNvSpPr/>
            <p:nvPr/>
          </p:nvSpPr>
          <p:spPr>
            <a:xfrm rot="10800000">
              <a:off x="4345091" y="556154"/>
              <a:ext cx="3500635" cy="1929977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BE2FFD9D-1EB9-1962-9148-34D8197EF0B5}"/>
                </a:ext>
              </a:extLst>
            </p:cNvPr>
            <p:cNvSpPr/>
            <p:nvPr/>
          </p:nvSpPr>
          <p:spPr>
            <a:xfrm rot="16200000" flipH="1">
              <a:off x="3003533" y="-203064"/>
              <a:ext cx="934100" cy="1340228"/>
            </a:xfrm>
            <a:custGeom>
              <a:avLst/>
              <a:gdLst>
                <a:gd name="connsiteX0" fmla="*/ 0 w 934100"/>
                <a:gd name="connsiteY0" fmla="*/ 7559 h 1340228"/>
                <a:gd name="connsiteX1" fmla="*/ 0 w 934100"/>
                <a:gd name="connsiteY1" fmla="*/ 1340228 h 1340228"/>
                <a:gd name="connsiteX2" fmla="*/ 934100 w 934100"/>
                <a:gd name="connsiteY2" fmla="*/ 406127 h 1340228"/>
                <a:gd name="connsiteX3" fmla="*/ 934100 w 934100"/>
                <a:gd name="connsiteY3" fmla="*/ 390900 h 1340228"/>
                <a:gd name="connsiteX4" fmla="*/ 871536 w 934100"/>
                <a:gd name="connsiteY4" fmla="*/ 328336 h 1340228"/>
                <a:gd name="connsiteX5" fmla="*/ 78866 w 934100"/>
                <a:gd name="connsiteY5" fmla="*/ 0 h 134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100" h="1340228">
                  <a:moveTo>
                    <a:pt x="0" y="7559"/>
                  </a:moveTo>
                  <a:lnTo>
                    <a:pt x="0" y="1340228"/>
                  </a:lnTo>
                  <a:lnTo>
                    <a:pt x="934100" y="406127"/>
                  </a:lnTo>
                  <a:lnTo>
                    <a:pt x="934100" y="390900"/>
                  </a:lnTo>
                  <a:lnTo>
                    <a:pt x="871536" y="328336"/>
                  </a:lnTo>
                  <a:cubicBezTo>
                    <a:pt x="652646" y="109444"/>
                    <a:pt x="365756" y="0"/>
                    <a:pt x="78866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C8631-7EB4-491D-90DF-88607A226032}" type="datetime1">
              <a:rPr lang="en-US" smtClean="0"/>
              <a:t>6/21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3C8A52-6867-4192-3618-17366DB5B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6F5986-85EB-DF07-26FC-1D6ED8DC4C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2206" y="2743471"/>
            <a:ext cx="2397079" cy="3047729"/>
          </a:xfrm>
        </p:spPr>
        <p:txBody>
          <a:bodyPr anchor="ctr"/>
          <a:lstStyle>
            <a:lvl1pPr>
              <a:buClr>
                <a:schemeClr val="bg1"/>
              </a:buClr>
              <a:defRPr sz="2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8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8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A53DEBAC-5F84-D841-03C0-2633BEAF05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68666" y="2743471"/>
            <a:ext cx="2397079" cy="3047729"/>
          </a:xfrm>
        </p:spPr>
        <p:txBody>
          <a:bodyPr anchor="ctr"/>
          <a:lstStyle>
            <a:lvl1pPr>
              <a:buClr>
                <a:schemeClr val="bg1"/>
              </a:buClr>
              <a:defRPr sz="2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88B960CD-03E0-5713-D335-B07A069426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5126" y="2743471"/>
            <a:ext cx="2397079" cy="3047729"/>
          </a:xfrm>
        </p:spPr>
        <p:txBody>
          <a:bodyPr anchor="ctr"/>
          <a:lstStyle>
            <a:lvl1pPr>
              <a:buClr>
                <a:schemeClr val="bg1"/>
              </a:buClr>
              <a:defRPr sz="2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CF745E8E-305A-258F-A772-89238F000A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206" y="1343506"/>
            <a:ext cx="2397079" cy="1248619"/>
          </a:xfrm>
        </p:spPr>
        <p:txBody>
          <a:bodyPr lIns="72000" anchor="ctr" anchorCtr="0"/>
          <a:lstStyle>
            <a:lvl1pPr marL="0" indent="0" algn="ctr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within text box.</a:t>
            </a:r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665AE713-64A0-62C5-9B25-B3188627E2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68666" y="1343506"/>
            <a:ext cx="2397079" cy="1248619"/>
          </a:xfrm>
        </p:spPr>
        <p:txBody>
          <a:bodyPr lIns="72000" anchor="ctr" anchorCtr="0"/>
          <a:lstStyle>
            <a:lvl1pPr marL="0" indent="0" algn="ctr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within text box.</a:t>
            </a:r>
          </a:p>
        </p:txBody>
      </p:sp>
      <p:sp>
        <p:nvSpPr>
          <p:cNvPr id="38" name="Text Placeholder 33">
            <a:extLst>
              <a:ext uri="{FF2B5EF4-FFF2-40B4-BE49-F238E27FC236}">
                <a16:creationId xmlns:a16="http://schemas.microsoft.com/office/drawing/2014/main" id="{217EB06B-0024-06D0-ADF8-A2474B8CC9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15126" y="1343506"/>
            <a:ext cx="2397079" cy="1248619"/>
          </a:xfrm>
        </p:spPr>
        <p:txBody>
          <a:bodyPr lIns="72000" anchor="ctr" anchorCtr="0"/>
          <a:lstStyle>
            <a:lvl1pPr marL="0" indent="0" algn="ctr" rtl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within text box.</a:t>
            </a:r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F594A588-3333-60EE-66B3-364310F773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178724" y="2743471"/>
            <a:ext cx="2379942" cy="3047729"/>
          </a:xfrm>
        </p:spPr>
        <p:txBody>
          <a:bodyPr anchor="ctr"/>
          <a:lstStyle>
            <a:lvl1pPr rtl="0">
              <a:buClr>
                <a:schemeClr val="bg1"/>
              </a:buClr>
              <a:defRPr sz="2200"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Text Placeholder 33">
            <a:extLst>
              <a:ext uri="{FF2B5EF4-FFF2-40B4-BE49-F238E27FC236}">
                <a16:creationId xmlns:a16="http://schemas.microsoft.com/office/drawing/2014/main" id="{ED9D41A5-F51B-18AF-53E5-B0F404F54E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61587" y="1343506"/>
            <a:ext cx="2397079" cy="1248619"/>
          </a:xfrm>
        </p:spPr>
        <p:txBody>
          <a:bodyPr lIns="72000" anchor="ctr" anchorCtr="0"/>
          <a:lstStyle>
            <a:lvl1pPr marL="0" indent="0" algn="ctr" rtl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within text box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54827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2.bin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DEEB8C7-9636-7472-1B3A-1F530FFC8EFA}"/>
              </a:ext>
            </a:extLst>
          </p:cNvPr>
          <p:cNvGraphicFramePr>
            <a:graphicFrameLocks noChangeAspect="1"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2207790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306" imgH="306" progId="TCLayout.ActiveDocument.1">
                  <p:embed/>
                </p:oleObj>
              </mc:Choice>
              <mc:Fallback>
                <p:oleObj name="think-cell Slide" r:id="rId37" imgW="306" imgH="30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DEEB8C7-9636-7472-1B3A-1F530FFC8E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69F60D-9429-F273-018C-A0F62EA35F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58160"/>
            <a:ext cx="11277600" cy="657840"/>
          </a:xfrm>
          <a:prstGeom prst="rect">
            <a:avLst/>
          </a:prstGeom>
        </p:spPr>
        <p:txBody>
          <a:bodyPr vert="horz" lIns="0" tIns="72000" rIns="72000" bIns="7200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746699-9995-4AC7-342A-91F039D7CF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200801"/>
            <a:ext cx="11277598" cy="4892024"/>
          </a:xfrm>
          <a:prstGeom prst="rect">
            <a:avLst/>
          </a:prstGeom>
        </p:spPr>
        <p:txBody>
          <a:bodyPr vert="horz" lIns="0" tIns="72000" rIns="72000" bIns="72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B28DC8-AFCF-40F4-5D8E-2F3F7460EA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5400000">
            <a:off x="-291144" y="5236532"/>
            <a:ext cx="1039487" cy="4571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2">
                    <a:lumMod val="90000"/>
                  </a:schemeClr>
                </a:solidFill>
              </a:defRPr>
            </a:lvl1pPr>
          </a:lstStyle>
          <a:p>
            <a:fld id="{BABFE860-21FD-4DA0-9E9A-92548ED661C3}" type="datetime1">
              <a:rPr lang="en-US" smtClean="0"/>
              <a:t>6/2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8DB183-AE2B-FB8E-0B2C-D60EFC78D6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 vert="horz" lIns="0" tIns="72000" rIns="72000" bIns="7200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A0CB87-8E5E-8A57-E967-9D51BBBC6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</p:spPr>
        <p:txBody>
          <a:bodyPr vert="horz" lIns="72000" tIns="72000" rIns="72000" bIns="72000" rtlCol="0" anchor="ctr"/>
          <a:lstStyle>
            <a:lvl1pPr algn="ctr">
              <a:defRPr sz="1000">
                <a:solidFill>
                  <a:srgbClr val="042549"/>
                </a:solidFill>
              </a:defRPr>
            </a:lvl1pPr>
          </a:lstStyle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436AACE-E54F-276A-0021-FAC0D4BBE1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207790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306" imgH="306" progId="TCLayout.ActiveDocument.1">
                  <p:embed/>
                </p:oleObj>
              </mc:Choice>
              <mc:Fallback>
                <p:oleObj name="think-cell Slide" r:id="rId39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436AACE-E54F-276A-0021-FAC0D4BBE1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phic 12">
            <a:extLst>
              <a:ext uri="{FF2B5EF4-FFF2-40B4-BE49-F238E27FC236}">
                <a16:creationId xmlns:a16="http://schemas.microsoft.com/office/drawing/2014/main" id="{16CD1AC4-47C3-1222-7D63-1448C469F704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10722361" y="6294409"/>
            <a:ext cx="1012439" cy="410862"/>
          </a:xfrm>
          <a:prstGeom prst="rect">
            <a:avLst/>
          </a:prstGeom>
        </p:spPr>
      </p:pic>
    </p:spTree>
    <p:custDataLst>
      <p:tags r:id="rId34"/>
    </p:custDataLst>
    <p:extLst>
      <p:ext uri="{BB962C8B-B14F-4D97-AF65-F5344CB8AC3E}">
        <p14:creationId xmlns:p14="http://schemas.microsoft.com/office/powerpoint/2010/main" val="2954713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10" r:id="rId3"/>
    <p:sldLayoutId id="2147483711" r:id="rId4"/>
    <p:sldLayoutId id="2147483708" r:id="rId5"/>
    <p:sldLayoutId id="2147483709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  <p:sldLayoutId id="2147483720" r:id="rId13"/>
    <p:sldLayoutId id="2147483721" r:id="rId14"/>
    <p:sldLayoutId id="2147483723" r:id="rId15"/>
    <p:sldLayoutId id="2147483724" r:id="rId16"/>
    <p:sldLayoutId id="2147483725" r:id="rId17"/>
    <p:sldLayoutId id="2147483726" r:id="rId18"/>
    <p:sldLayoutId id="2147483727" r:id="rId19"/>
    <p:sldLayoutId id="2147483728" r:id="rId20"/>
    <p:sldLayoutId id="2147483729" r:id="rId21"/>
    <p:sldLayoutId id="2147483730" r:id="rId22"/>
    <p:sldLayoutId id="2147483731" r:id="rId23"/>
    <p:sldLayoutId id="2147483732" r:id="rId24"/>
    <p:sldLayoutId id="2147483733" r:id="rId25"/>
    <p:sldLayoutId id="2147483734" r:id="rId26"/>
    <p:sldLayoutId id="2147483735" r:id="rId27"/>
    <p:sldLayoutId id="2147483736" r:id="rId28"/>
    <p:sldLayoutId id="2147483737" r:id="rId29"/>
    <p:sldLayoutId id="2147483742" r:id="rId30"/>
    <p:sldLayoutId id="2147483741" r:id="rId31"/>
    <p:sldLayoutId id="2147483739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9" userDrawn="1">
          <p15:clr>
            <a:srgbClr val="A4A3A4"/>
          </p15:clr>
        </p15:guide>
        <p15:guide id="20" pos="7680" userDrawn="1">
          <p15:clr>
            <a:srgbClr val="C4CECF"/>
          </p15:clr>
        </p15:guide>
        <p15:guide id="21" pos="288" userDrawn="1">
          <p15:clr>
            <a:srgbClr val="F26B43"/>
          </p15:clr>
        </p15:guide>
        <p15:guide id="22" pos="1472" userDrawn="1">
          <p15:clr>
            <a:srgbClr val="C4CECF"/>
          </p15:clr>
        </p15:guide>
        <p15:guide id="23" pos="2656" userDrawn="1">
          <p15:clr>
            <a:srgbClr val="C4CECF"/>
          </p15:clr>
        </p15:guide>
        <p15:guide id="24" pos="3840" userDrawn="1">
          <p15:clr>
            <a:srgbClr val="C4CECF"/>
          </p15:clr>
        </p15:guide>
        <p15:guide id="25" pos="5024" userDrawn="1">
          <p15:clr>
            <a:srgbClr val="C4CECF"/>
          </p15:clr>
        </p15:guide>
        <p15:guide id="26" pos="6199" userDrawn="1">
          <p15:clr>
            <a:srgbClr val="C4CECF"/>
          </p15:clr>
        </p15:guide>
        <p15:guide id="27" pos="7392" userDrawn="1">
          <p15:clr>
            <a:srgbClr val="F26B43"/>
          </p15:clr>
        </p15:guide>
        <p15:guide id="28" orient="horz" userDrawn="1">
          <p15:clr>
            <a:srgbClr val="C4CECF"/>
          </p15:clr>
        </p15:guide>
        <p15:guide id="29" orient="horz" pos="4320" userDrawn="1">
          <p15:clr>
            <a:srgbClr val="C4CECF"/>
          </p15:clr>
        </p15:guide>
        <p15:guide id="30" orient="horz" pos="288" userDrawn="1">
          <p15:clr>
            <a:srgbClr val="F26B43"/>
          </p15:clr>
        </p15:guide>
        <p15:guide id="31" orient="horz" pos="2296" userDrawn="1">
          <p15:clr>
            <a:srgbClr val="C4CECF"/>
          </p15:clr>
        </p15:guide>
        <p15:guide id="32" orient="horz" pos="754" userDrawn="1">
          <p15:clr>
            <a:srgbClr val="F26B43"/>
          </p15:clr>
        </p15:guide>
        <p15:guide id="33" orient="horz" pos="3838" userDrawn="1">
          <p15:clr>
            <a:srgbClr val="F26B43"/>
          </p15:clr>
        </p15:guide>
        <p15:guide id="34" orient="horz" pos="504" userDrawn="1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2.xml"/><Relationship Id="rId4" Type="http://schemas.openxmlformats.org/officeDocument/2006/relationships/image" Target="../media/image10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9.xml"/><Relationship Id="rId4" Type="http://schemas.openxmlformats.org/officeDocument/2006/relationships/image" Target="../media/image1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9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1.xml"/><Relationship Id="rId4" Type="http://schemas.openxmlformats.org/officeDocument/2006/relationships/image" Target="../media/image10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8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8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5.xml"/><Relationship Id="rId4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8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7.xml"/><Relationship Id="rId4" Type="http://schemas.openxmlformats.org/officeDocument/2006/relationships/image" Target="../media/image1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8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owl with steam coming out of it&#10;&#10;Description automatically generated with medium confidence">
            <a:extLst>
              <a:ext uri="{FF2B5EF4-FFF2-40B4-BE49-F238E27FC236}">
                <a16:creationId xmlns:a16="http://schemas.microsoft.com/office/drawing/2014/main" id="{F6567AD4-7E63-1E8F-C710-9397E2A01DA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1901"/>
          <a:stretch/>
        </p:blipFill>
        <p:spPr>
          <a:xfrm>
            <a:off x="20" y="10"/>
            <a:ext cx="5864209" cy="6857990"/>
          </a:xfrm>
          <a:custGeom>
            <a:avLst/>
            <a:gdLst>
              <a:gd name="connsiteX0" fmla="*/ 0 w 5864229"/>
              <a:gd name="connsiteY0" fmla="*/ 0 h 6858000"/>
              <a:gd name="connsiteX1" fmla="*/ 5864229 w 5864229"/>
              <a:gd name="connsiteY1" fmla="*/ 0 h 6858000"/>
              <a:gd name="connsiteX2" fmla="*/ 4955615 w 5864229"/>
              <a:gd name="connsiteY2" fmla="*/ 5555766 h 6858000"/>
              <a:gd name="connsiteX3" fmla="*/ 4358275 w 5864229"/>
              <a:gd name="connsiteY3" fmla="*/ 5984541 h 6858000"/>
              <a:gd name="connsiteX4" fmla="*/ 1 w 5864229"/>
              <a:gd name="connsiteY4" fmla="*/ 5271525 h 6858000"/>
              <a:gd name="connsiteX5" fmla="*/ 1 w 5864229"/>
              <a:gd name="connsiteY5" fmla="*/ 6858000 h 6858000"/>
              <a:gd name="connsiteX6" fmla="*/ 0 w 58642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64229" h="6858000">
                <a:moveTo>
                  <a:pt x="0" y="0"/>
                </a:moveTo>
                <a:lnTo>
                  <a:pt x="5864229" y="0"/>
                </a:lnTo>
                <a:lnTo>
                  <a:pt x="4955615" y="5555766"/>
                </a:lnTo>
                <a:cubicBezTo>
                  <a:pt x="4910610" y="5841344"/>
                  <a:pt x="4641399" y="6031183"/>
                  <a:pt x="4358275" y="5984541"/>
                </a:cubicBezTo>
                <a:lnTo>
                  <a:pt x="1" y="5271525"/>
                </a:lnTo>
                <a:lnTo>
                  <a:pt x="1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</p:pic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71675742-254E-C55C-8D29-BC0CD2826B94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97" r="21497"/>
          <a:stretch/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B53A4AC-167B-69A2-D680-ACE28AEFEA1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9" y="2284785"/>
            <a:ext cx="5638799" cy="2100359"/>
          </a:xfrm>
        </p:spPr>
        <p:txBody>
          <a:bodyPr anchor="b">
            <a:noAutofit/>
          </a:bodyPr>
          <a:lstStyle/>
          <a:p>
            <a:r>
              <a:rPr lang="en-GB"/>
              <a:t>Unleashing the Power of Youth-led Change in Clean Cooking </a:t>
            </a:r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2356590E-7ACC-8F2C-9472-2929EAAE22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654193"/>
            <a:ext cx="5638802" cy="799226"/>
          </a:xfrm>
        </p:spPr>
        <p:txBody>
          <a:bodyPr/>
          <a:lstStyle/>
          <a:p>
            <a:r>
              <a:rPr lang="en-US"/>
              <a:t>Youth Energy Summit | Nairobi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B03097-4491-397E-F134-CB56DCA86C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ctr">
            <a:normAutofit/>
          </a:bodyPr>
          <a:lstStyle/>
          <a:p>
            <a:r>
              <a:rPr lang="en-GB"/>
              <a:t>22 June 2023</a:t>
            </a:r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65339C90-3AE5-3CEE-5EBB-1C98D10DB8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41553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owl with steam coming out of it&#10;&#10;Description automatically generated with medium confidence">
            <a:extLst>
              <a:ext uri="{FF2B5EF4-FFF2-40B4-BE49-F238E27FC236}">
                <a16:creationId xmlns:a16="http://schemas.microsoft.com/office/drawing/2014/main" id="{F6567AD4-7E63-1E8F-C710-9397E2A01DA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1901"/>
          <a:stretch/>
        </p:blipFill>
        <p:spPr>
          <a:xfrm>
            <a:off x="20" y="10"/>
            <a:ext cx="5864209" cy="6857990"/>
          </a:xfrm>
          <a:custGeom>
            <a:avLst/>
            <a:gdLst>
              <a:gd name="connsiteX0" fmla="*/ 0 w 5864229"/>
              <a:gd name="connsiteY0" fmla="*/ 0 h 6858000"/>
              <a:gd name="connsiteX1" fmla="*/ 5864229 w 5864229"/>
              <a:gd name="connsiteY1" fmla="*/ 0 h 6858000"/>
              <a:gd name="connsiteX2" fmla="*/ 4955615 w 5864229"/>
              <a:gd name="connsiteY2" fmla="*/ 5555766 h 6858000"/>
              <a:gd name="connsiteX3" fmla="*/ 4358275 w 5864229"/>
              <a:gd name="connsiteY3" fmla="*/ 5984541 h 6858000"/>
              <a:gd name="connsiteX4" fmla="*/ 1 w 5864229"/>
              <a:gd name="connsiteY4" fmla="*/ 5271525 h 6858000"/>
              <a:gd name="connsiteX5" fmla="*/ 1 w 5864229"/>
              <a:gd name="connsiteY5" fmla="*/ 6858000 h 6858000"/>
              <a:gd name="connsiteX6" fmla="*/ 0 w 58642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64229" h="6858000">
                <a:moveTo>
                  <a:pt x="0" y="0"/>
                </a:moveTo>
                <a:lnTo>
                  <a:pt x="5864229" y="0"/>
                </a:lnTo>
                <a:lnTo>
                  <a:pt x="4955615" y="5555766"/>
                </a:lnTo>
                <a:cubicBezTo>
                  <a:pt x="4910610" y="5841344"/>
                  <a:pt x="4641399" y="6031183"/>
                  <a:pt x="4358275" y="5984541"/>
                </a:cubicBezTo>
                <a:lnTo>
                  <a:pt x="1" y="5271525"/>
                </a:lnTo>
                <a:lnTo>
                  <a:pt x="1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</p:pic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71675742-254E-C55C-8D29-BC0CD2826B94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97" r="21497"/>
          <a:stretch/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B53A4AC-167B-69A2-D680-ACE28AEFEA1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9" y="2284785"/>
            <a:ext cx="5638799" cy="2100359"/>
          </a:xfrm>
        </p:spPr>
        <p:txBody>
          <a:bodyPr anchor="b">
            <a:noAutofit/>
          </a:bodyPr>
          <a:lstStyle/>
          <a:p>
            <a:r>
              <a:rPr lang="en-GB"/>
              <a:t>Unleashing the Power of Youth-led Change in Clean Cooking </a:t>
            </a:r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2356590E-7ACC-8F2C-9472-2929EAAE22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654193"/>
            <a:ext cx="5638802" cy="799226"/>
          </a:xfrm>
        </p:spPr>
        <p:txBody>
          <a:bodyPr/>
          <a:lstStyle/>
          <a:p>
            <a:r>
              <a:rPr lang="en-US"/>
              <a:t>Youth Energy Summit | Nairobi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B03097-4491-397E-F134-CB56DCA86C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ctr">
            <a:normAutofit/>
          </a:bodyPr>
          <a:lstStyle/>
          <a:p>
            <a:r>
              <a:rPr lang="en-GB"/>
              <a:t>22 June 2023</a:t>
            </a:r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65339C90-3AE5-3CEE-5EBB-1C98D10DB8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796396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B03097-4491-397E-F134-CB56DCA86C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25347" y="1369816"/>
            <a:ext cx="5409452" cy="3606184"/>
          </a:xfrm>
        </p:spPr>
        <p:txBody>
          <a:bodyPr anchor="ctr">
            <a:norm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GB" sz="2800"/>
              <a:t>Scan to download </a:t>
            </a:r>
            <a:r>
              <a:rPr lang="en-GB" sz="2800" b="1"/>
              <a:t>CCA's Youth Strategy</a:t>
            </a:r>
            <a:r>
              <a:rPr lang="en-GB" sz="2800"/>
              <a:t> and read more about the </a:t>
            </a:r>
            <a:r>
              <a:rPr lang="en-GB" sz="2800" b="1"/>
              <a:t>Youth </a:t>
            </a:r>
            <a:r>
              <a:rPr lang="en-GB" sz="2800" b="1" dirty="0"/>
              <a:t>Accelerator</a:t>
            </a:r>
            <a:r>
              <a:rPr lang="en-GB" sz="2800" dirty="0"/>
              <a:t>! </a:t>
            </a:r>
            <a:endParaRPr lang="en-US"/>
          </a:p>
        </p:txBody>
      </p:sp>
      <p:sp>
        <p:nvSpPr>
          <p:cNvPr id="34" name="Footer Placeholder 2">
            <a:extLst>
              <a:ext uri="{FF2B5EF4-FFF2-40B4-BE49-F238E27FC236}">
                <a16:creationId xmlns:a16="http://schemas.microsoft.com/office/drawing/2014/main" id="{564FF364-8F50-E2FD-1B36-C9131E85E8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</p:spPr>
        <p:txBody>
          <a:bodyPr/>
          <a:lstStyle/>
          <a:p>
            <a:endParaRPr lang="en-US"/>
          </a:p>
        </p:txBody>
      </p:sp>
      <p:pic>
        <p:nvPicPr>
          <p:cNvPr id="12" name="Picture Placeholder 11" descr="A qr code with a white background&#10;&#10;Description automatically generated with low confidence">
            <a:extLst>
              <a:ext uri="{FF2B5EF4-FFF2-40B4-BE49-F238E27FC236}">
                <a16:creationId xmlns:a16="http://schemas.microsoft.com/office/drawing/2014/main" id="{A9485951-6E4A-76C0-69D1-12002523B36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" b="-1"/>
          <a:stretch/>
        </p:blipFill>
        <p:spPr>
          <a:xfrm>
            <a:off x="468466" y="457199"/>
            <a:ext cx="5622453" cy="5622447"/>
          </a:xfrm>
          <a:noFill/>
        </p:spPr>
      </p:pic>
      <p:sp>
        <p:nvSpPr>
          <p:cNvPr id="14" name="Title 13">
            <a:extLst>
              <a:ext uri="{FF2B5EF4-FFF2-40B4-BE49-F238E27FC236}">
                <a16:creationId xmlns:a16="http://schemas.microsoft.com/office/drawing/2014/main" id="{09EC5972-A9E6-EB43-0608-FB6D4DCABA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479" y="1260513"/>
            <a:ext cx="5432320" cy="1064240"/>
          </a:xfrm>
        </p:spPr>
        <p:txBody>
          <a:bodyPr anchor="t">
            <a:normAutofit/>
          </a:bodyPr>
          <a:lstStyle/>
          <a:p>
            <a:r>
              <a:rPr lang="en-US" sz="4800" dirty="0"/>
              <a:t>Thank you!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6117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owl with steam coming out of it&#10;&#10;Description automatically generated with medium confidence">
            <a:extLst>
              <a:ext uri="{FF2B5EF4-FFF2-40B4-BE49-F238E27FC236}">
                <a16:creationId xmlns:a16="http://schemas.microsoft.com/office/drawing/2014/main" id="{F6567AD4-7E63-1E8F-C710-9397E2A01DA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1901"/>
          <a:stretch/>
        </p:blipFill>
        <p:spPr>
          <a:xfrm>
            <a:off x="20" y="10"/>
            <a:ext cx="5864209" cy="6857990"/>
          </a:xfrm>
          <a:custGeom>
            <a:avLst/>
            <a:gdLst>
              <a:gd name="connsiteX0" fmla="*/ 0 w 5864229"/>
              <a:gd name="connsiteY0" fmla="*/ 0 h 6858000"/>
              <a:gd name="connsiteX1" fmla="*/ 5864229 w 5864229"/>
              <a:gd name="connsiteY1" fmla="*/ 0 h 6858000"/>
              <a:gd name="connsiteX2" fmla="*/ 4955615 w 5864229"/>
              <a:gd name="connsiteY2" fmla="*/ 5555766 h 6858000"/>
              <a:gd name="connsiteX3" fmla="*/ 4358275 w 5864229"/>
              <a:gd name="connsiteY3" fmla="*/ 5984541 h 6858000"/>
              <a:gd name="connsiteX4" fmla="*/ 1 w 5864229"/>
              <a:gd name="connsiteY4" fmla="*/ 5271525 h 6858000"/>
              <a:gd name="connsiteX5" fmla="*/ 1 w 5864229"/>
              <a:gd name="connsiteY5" fmla="*/ 6858000 h 6858000"/>
              <a:gd name="connsiteX6" fmla="*/ 0 w 58642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64229" h="6858000">
                <a:moveTo>
                  <a:pt x="0" y="0"/>
                </a:moveTo>
                <a:lnTo>
                  <a:pt x="5864229" y="0"/>
                </a:lnTo>
                <a:lnTo>
                  <a:pt x="4955615" y="5555766"/>
                </a:lnTo>
                <a:cubicBezTo>
                  <a:pt x="4910610" y="5841344"/>
                  <a:pt x="4641399" y="6031183"/>
                  <a:pt x="4358275" y="5984541"/>
                </a:cubicBezTo>
                <a:lnTo>
                  <a:pt x="1" y="5271525"/>
                </a:lnTo>
                <a:lnTo>
                  <a:pt x="1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</p:pic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71675742-254E-C55C-8D29-BC0CD2826B94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97" r="21497"/>
          <a:stretch/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B53A4AC-167B-69A2-D680-ACE28AEFEA1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9" y="2284785"/>
            <a:ext cx="5638799" cy="2100359"/>
          </a:xfrm>
        </p:spPr>
        <p:txBody>
          <a:bodyPr anchor="b">
            <a:noAutofit/>
          </a:bodyPr>
          <a:lstStyle/>
          <a:p>
            <a:r>
              <a:rPr lang="en-GB"/>
              <a:t>Unleashing the Power of Youth-led Change in Clean Cooking </a:t>
            </a:r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2356590E-7ACC-8F2C-9472-2929EAAE22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654193"/>
            <a:ext cx="5638802" cy="799226"/>
          </a:xfrm>
        </p:spPr>
        <p:txBody>
          <a:bodyPr/>
          <a:lstStyle/>
          <a:p>
            <a:r>
              <a:rPr lang="en-US"/>
              <a:t>Youth Energy Summit | Nairobi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B03097-4491-397E-F134-CB56DCA86C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ctr">
            <a:normAutofit/>
          </a:bodyPr>
          <a:lstStyle/>
          <a:p>
            <a:r>
              <a:rPr lang="en-GB"/>
              <a:t>22 June 2023</a:t>
            </a:r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65339C90-3AE5-3CEE-5EBB-1C98D10DB8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793427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46D044D-8ACB-85D2-1C9E-CC393BA03B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sz="2400" b="1"/>
              <a:t>244 million </a:t>
            </a:r>
            <a:r>
              <a:rPr lang="en-GB"/>
              <a:t>children &amp; youth are out of schoo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13262F-D677-13E7-A164-47D6FC0BA0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sz="2100" dirty="0"/>
              <a:t>Over 80% of displaced people use </a:t>
            </a:r>
            <a:r>
              <a:rPr lang="en-GB" sz="2400" b="1" dirty="0"/>
              <a:t>firewood &amp; charcoal for cooking</a:t>
            </a:r>
            <a:endParaRPr lang="en-GB" sz="21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67E16A-487D-8738-3DDE-2EF0A152D75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sz="2400" b="1"/>
              <a:t>70 million </a:t>
            </a:r>
            <a:r>
              <a:rPr lang="en-GB"/>
              <a:t>young people are unemployed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93B5FF-4AFD-CE4F-8ABB-2843FAC0975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Household air pollution kills more than </a:t>
            </a:r>
            <a:br>
              <a:rPr lang="en-US"/>
            </a:br>
            <a:r>
              <a:rPr lang="en-US" sz="2400" b="1">
                <a:effectLst/>
                <a:latin typeface="Roboto" panose="02000000000000000000" pitchFamily="2" charset="0"/>
              </a:rPr>
              <a:t>237,000 children </a:t>
            </a:r>
            <a:r>
              <a:rPr lang="en-US"/>
              <a:t>annually</a:t>
            </a:r>
            <a:r>
              <a:rPr lang="en-US" sz="2400" b="1">
                <a:effectLst/>
                <a:latin typeface="Roboto" panose="02000000000000000000" pitchFamily="2" charset="0"/>
              </a:rPr>
              <a:t> </a:t>
            </a:r>
            <a:endParaRPr lang="en-US" sz="240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B790C8E-3395-0FC5-6620-01711D9563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100080"/>
            <a:ext cx="4296151" cy="657840"/>
          </a:xfrm>
        </p:spPr>
        <p:txBody>
          <a:bodyPr/>
          <a:lstStyle/>
          <a:p>
            <a:r>
              <a:rPr lang="en-GB"/>
              <a:t>Clean Cooking </a:t>
            </a:r>
            <a:br>
              <a:rPr lang="en-GB"/>
            </a:br>
            <a:r>
              <a:rPr lang="en-GB"/>
              <a:t>is a Youth Issu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B1801F9-3B05-58D2-517B-CAE33F69C5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/>
              <a:t>1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89696BF-CD97-AED6-DA5E-43E5D32314B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/>
              <a:t>2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B85F76-EF76-84EB-204D-2D27BAD6324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/>
              <a:t>3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7AF98CA-1662-1A90-8AD1-5BD75DBA1B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GB"/>
              <a:t>4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09E3E64B-4FEC-58D7-DCB4-1B227618CD3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3281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5271E059-ECB9-9611-00F9-9F536D4A32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9" y="1492187"/>
            <a:ext cx="5638799" cy="2100359"/>
          </a:xfrm>
        </p:spPr>
        <p:txBody>
          <a:bodyPr vert="horz" lIns="108000" tIns="72000" rIns="72000" bIns="72000" rtlCol="0" anchor="b">
            <a:normAutofit/>
          </a:bodyPr>
          <a:lstStyle/>
          <a:p>
            <a:r>
              <a:rPr lang="en-US"/>
              <a:t>CCA </a:t>
            </a:r>
            <a:r>
              <a:rPr lang="en-US" b="1" kern="1200">
                <a:latin typeface="+mj-lt"/>
                <a:ea typeface="+mj-ea"/>
                <a:cs typeface="+mj-cs"/>
              </a:rPr>
              <a:t>Youth Strategy</a:t>
            </a:r>
          </a:p>
        </p:txBody>
      </p:sp>
      <p:pic>
        <p:nvPicPr>
          <p:cNvPr id="5" name="Picture 5" descr="A picture containing text, person, outdoor, group&#10;&#10;Description automatically generated">
            <a:extLst>
              <a:ext uri="{FF2B5EF4-FFF2-40B4-BE49-F238E27FC236}">
                <a16:creationId xmlns:a16="http://schemas.microsoft.com/office/drawing/2014/main" id="{013B96D6-5889-88F7-AAD9-ECE2091FA4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501" y="-1407"/>
            <a:ext cx="5359523" cy="6143858"/>
          </a:xfrm>
          <a:prstGeom prst="rect">
            <a:avLst/>
          </a:prstGeom>
        </p:spPr>
      </p:pic>
      <p:sp>
        <p:nvSpPr>
          <p:cNvPr id="4" name="Subtitle 9">
            <a:extLst>
              <a:ext uri="{FF2B5EF4-FFF2-40B4-BE49-F238E27FC236}">
                <a16:creationId xmlns:a16="http://schemas.microsoft.com/office/drawing/2014/main" id="{49738ABF-0ED1-9EA9-BA4E-C27CCFB7CA9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216820"/>
            <a:ext cx="5638802" cy="799226"/>
          </a:xfrm>
        </p:spPr>
        <p:txBody>
          <a:bodyPr/>
          <a:lstStyle/>
          <a:p>
            <a:r>
              <a:rPr lang="en-US"/>
              <a:t>Empowering Youth-led Change in Clean Cooking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506DFCC0-CB27-9232-B70F-90C3428FE1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8380" y="5405152"/>
            <a:ext cx="5638800" cy="685800"/>
          </a:xfrm>
        </p:spPr>
        <p:txBody>
          <a:bodyPr/>
          <a:lstStyle/>
          <a:p>
            <a:r>
              <a:rPr lang="en-US"/>
              <a:t>OFFICIAL LAUNCH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54AD65B-F7FF-4E76-9F71-1EA75143436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7224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7929838-68DF-168A-3035-8D19979D45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9450"/>
            <a:ext cx="11277600" cy="657840"/>
          </a:xfrm>
        </p:spPr>
        <p:txBody>
          <a:bodyPr/>
          <a:lstStyle/>
          <a:p>
            <a:r>
              <a:rPr lang="en-GB"/>
              <a:t>CCA’s Youth Strateg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E0D0616-6517-66FC-E623-3B2CA35E86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7451" y="3042423"/>
            <a:ext cx="3058808" cy="2808287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W</a:t>
            </a:r>
            <a:r>
              <a:rPr lang="en-US" dirty="0">
                <a:effectLst/>
              </a:rPr>
              <a:t>ork with </a:t>
            </a:r>
            <a:r>
              <a:rPr lang="en-US" b="1" dirty="0">
                <a:solidFill>
                  <a:srgbClr val="AF2375"/>
                </a:solidFill>
                <a:effectLst/>
              </a:rPr>
              <a:t>youth</a:t>
            </a:r>
            <a:r>
              <a:rPr lang="en-US" dirty="0">
                <a:solidFill>
                  <a:srgbClr val="AF2375"/>
                </a:solidFill>
                <a:effectLst/>
              </a:rPr>
              <a:t> </a:t>
            </a:r>
            <a:r>
              <a:rPr lang="en-US" dirty="0">
                <a:effectLst/>
              </a:rPr>
              <a:t>&amp; partners to develop &amp; support awareness-raising resources </a:t>
            </a:r>
            <a:r>
              <a:rPr lang="en-US" dirty="0"/>
              <a:t>&amp; </a:t>
            </a:r>
            <a:r>
              <a:rPr lang="en-US" dirty="0">
                <a:effectLst/>
              </a:rPr>
              <a:t>activities</a:t>
            </a:r>
            <a:endParaRPr lang="en-GB" sz="36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1886AE6-D5E9-6530-BC71-B8320D8D47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66595" y="2638420"/>
            <a:ext cx="3058808" cy="2808287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S</a:t>
            </a:r>
            <a:r>
              <a:rPr lang="en-US" dirty="0">
                <a:effectLst/>
              </a:rPr>
              <a:t>upport capacity building to equip </a:t>
            </a:r>
            <a:r>
              <a:rPr lang="en-US" b="1" dirty="0">
                <a:solidFill>
                  <a:srgbClr val="AF2375"/>
                </a:solidFill>
                <a:effectLst/>
              </a:rPr>
              <a:t>youth </a:t>
            </a:r>
            <a:r>
              <a:rPr lang="en-US" dirty="0">
                <a:effectLst/>
              </a:rPr>
              <a:t>with relevant knowledge</a:t>
            </a:r>
            <a:r>
              <a:rPr lang="en-US" dirty="0"/>
              <a:t> &amp; skills</a:t>
            </a:r>
            <a:endParaRPr lang="en-US" sz="3200" dirty="0">
              <a:effectLst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79FE777-69A3-577F-3A71-B8C12BA6DD8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435094" y="2635735"/>
            <a:ext cx="3069454" cy="281098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E</a:t>
            </a:r>
            <a:r>
              <a:rPr lang="en-US" dirty="0">
                <a:effectLst/>
              </a:rPr>
              <a:t>levate </a:t>
            </a:r>
            <a:r>
              <a:rPr lang="en-US" dirty="0"/>
              <a:t>&amp; </a:t>
            </a:r>
            <a:r>
              <a:rPr lang="en-US" dirty="0">
                <a:effectLst/>
              </a:rPr>
              <a:t>engage </a:t>
            </a:r>
            <a:r>
              <a:rPr lang="en-US" b="1" dirty="0">
                <a:solidFill>
                  <a:srgbClr val="AF2375"/>
                </a:solidFill>
                <a:effectLst/>
              </a:rPr>
              <a:t>youth</a:t>
            </a:r>
            <a:r>
              <a:rPr lang="en-US" dirty="0">
                <a:solidFill>
                  <a:srgbClr val="AF2375"/>
                </a:solidFill>
                <a:effectLst/>
              </a:rPr>
              <a:t> </a:t>
            </a:r>
            <a:r>
              <a:rPr lang="en-US" dirty="0">
                <a:effectLst/>
              </a:rPr>
              <a:t>voices as critical stakeholders in the ecosystem</a:t>
            </a:r>
            <a:endParaRPr lang="en-US" sz="3200" dirty="0">
              <a:effectLst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F81650B-FBB9-2ED6-0A55-A82903AF02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7451" y="1829080"/>
            <a:ext cx="3069447" cy="1379001"/>
          </a:xfrm>
        </p:spPr>
        <p:txBody>
          <a:bodyPr/>
          <a:lstStyle/>
          <a:p>
            <a:r>
              <a:rPr lang="en-GB" sz="2800"/>
              <a:t>Awareness</a:t>
            </a:r>
            <a:r>
              <a:rPr lang="en-GB"/>
              <a:t>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27FD268-760B-8A4D-CFCE-760B2F10DF9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90998" y="1820112"/>
            <a:ext cx="3069447" cy="1387969"/>
          </a:xfrm>
        </p:spPr>
        <p:txBody>
          <a:bodyPr/>
          <a:lstStyle/>
          <a:p>
            <a:r>
              <a:rPr lang="en-GB" sz="2800"/>
              <a:t>Empowerment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DF57173-AA5A-8B91-664C-8098DECC7E9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435094" y="1820112"/>
            <a:ext cx="3069447" cy="1387969"/>
          </a:xfrm>
        </p:spPr>
        <p:txBody>
          <a:bodyPr/>
          <a:lstStyle/>
          <a:p>
            <a:r>
              <a:rPr lang="en-GB" sz="2800"/>
              <a:t>Ac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51B7215-FE5D-92C1-C3A8-E9715EC193AA}"/>
              </a:ext>
            </a:extLst>
          </p:cNvPr>
          <p:cNvSpPr txBox="1"/>
          <p:nvPr/>
        </p:nvSpPr>
        <p:spPr>
          <a:xfrm>
            <a:off x="376554" y="1138318"/>
            <a:ext cx="1149833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>
                <a:solidFill>
                  <a:srgbClr val="002060"/>
                </a:solidFill>
              </a:rPr>
              <a:t>CCA’s Youth Strategy covers three key fundamental aspects of youth engagement in clean cooking: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4E7414B-4C4D-F475-9463-820405BDE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25400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15" descr="A person and person standing in front of a building&#10;&#10;Description automatically generated">
            <a:extLst>
              <a:ext uri="{FF2B5EF4-FFF2-40B4-BE49-F238E27FC236}">
                <a16:creationId xmlns:a16="http://schemas.microsoft.com/office/drawing/2014/main" id="{C5F888FA-BAF3-6BDC-C3D4-683B73CF6CC4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18" b="11018"/>
          <a:stretch>
            <a:fillRect/>
          </a:stretch>
        </p:blipFill>
        <p:spPr/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90B11DFA-6369-72CF-31F2-019A0E73064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Youth Accelerator in Clean Cooking 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C1EFB007-6E4C-66F4-47A9-894AA3A583C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Student Energy &amp; </a:t>
            </a:r>
            <a:br>
              <a:rPr lang="en-US"/>
            </a:br>
            <a:r>
              <a:rPr lang="en-US"/>
              <a:t>Clean Cooking Allianc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C49FA59-E59C-5C8F-8892-6DA8BE0458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/>
              <a:t>Announcement &amp; Call for Funders</a:t>
            </a:r>
          </a:p>
        </p:txBody>
      </p:sp>
      <p:pic>
        <p:nvPicPr>
          <p:cNvPr id="18" name="Picture 17" descr="A picture containing font, graphics, logo, screenshot&#10;&#10;Description automatically generated">
            <a:extLst>
              <a:ext uri="{FF2B5EF4-FFF2-40B4-BE49-F238E27FC236}">
                <a16:creationId xmlns:a16="http://schemas.microsoft.com/office/drawing/2014/main" id="{D9792AD4-7D28-9A35-E9C4-3F6813C4B9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1208" y="501564"/>
            <a:ext cx="1894586" cy="65679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7802C4D-AC24-5758-40D3-F1214113E69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78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owl with steam coming out of it&#10;&#10;Description automatically generated with medium confidence">
            <a:extLst>
              <a:ext uri="{FF2B5EF4-FFF2-40B4-BE49-F238E27FC236}">
                <a16:creationId xmlns:a16="http://schemas.microsoft.com/office/drawing/2014/main" id="{F6567AD4-7E63-1E8F-C710-9397E2A01DA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1901"/>
          <a:stretch/>
        </p:blipFill>
        <p:spPr>
          <a:xfrm>
            <a:off x="20" y="10"/>
            <a:ext cx="5864209" cy="6857990"/>
          </a:xfrm>
          <a:custGeom>
            <a:avLst/>
            <a:gdLst>
              <a:gd name="connsiteX0" fmla="*/ 0 w 5864229"/>
              <a:gd name="connsiteY0" fmla="*/ 0 h 6858000"/>
              <a:gd name="connsiteX1" fmla="*/ 5864229 w 5864229"/>
              <a:gd name="connsiteY1" fmla="*/ 0 h 6858000"/>
              <a:gd name="connsiteX2" fmla="*/ 4955615 w 5864229"/>
              <a:gd name="connsiteY2" fmla="*/ 5555766 h 6858000"/>
              <a:gd name="connsiteX3" fmla="*/ 4358275 w 5864229"/>
              <a:gd name="connsiteY3" fmla="*/ 5984541 h 6858000"/>
              <a:gd name="connsiteX4" fmla="*/ 1 w 5864229"/>
              <a:gd name="connsiteY4" fmla="*/ 5271525 h 6858000"/>
              <a:gd name="connsiteX5" fmla="*/ 1 w 5864229"/>
              <a:gd name="connsiteY5" fmla="*/ 6858000 h 6858000"/>
              <a:gd name="connsiteX6" fmla="*/ 0 w 58642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64229" h="6858000">
                <a:moveTo>
                  <a:pt x="0" y="0"/>
                </a:moveTo>
                <a:lnTo>
                  <a:pt x="5864229" y="0"/>
                </a:lnTo>
                <a:lnTo>
                  <a:pt x="4955615" y="5555766"/>
                </a:lnTo>
                <a:cubicBezTo>
                  <a:pt x="4910610" y="5841344"/>
                  <a:pt x="4641399" y="6031183"/>
                  <a:pt x="4358275" y="5984541"/>
                </a:cubicBezTo>
                <a:lnTo>
                  <a:pt x="1" y="5271525"/>
                </a:lnTo>
                <a:lnTo>
                  <a:pt x="1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</p:pic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71675742-254E-C55C-8D29-BC0CD2826B94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97" r="21497"/>
          <a:stretch/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B53A4AC-167B-69A2-D680-ACE28AEFEA1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9" y="2284785"/>
            <a:ext cx="5638799" cy="2100359"/>
          </a:xfrm>
        </p:spPr>
        <p:txBody>
          <a:bodyPr anchor="b">
            <a:noAutofit/>
          </a:bodyPr>
          <a:lstStyle/>
          <a:p>
            <a:r>
              <a:rPr lang="en-GB"/>
              <a:t>Unleashing the Power of Youth-led Change in Clean Cooking </a:t>
            </a:r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2356590E-7ACC-8F2C-9472-2929EAAE22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654193"/>
            <a:ext cx="5638802" cy="799226"/>
          </a:xfrm>
        </p:spPr>
        <p:txBody>
          <a:bodyPr/>
          <a:lstStyle/>
          <a:p>
            <a:r>
              <a:rPr lang="en-US"/>
              <a:t>Youth Energy Summit | Nairobi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B03097-4491-397E-F134-CB56DCA86C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ctr">
            <a:normAutofit/>
          </a:bodyPr>
          <a:lstStyle/>
          <a:p>
            <a:r>
              <a:rPr lang="en-GB"/>
              <a:t>22 June 2023</a:t>
            </a:r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65339C90-3AE5-3CEE-5EBB-1C98D10DB8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10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06E97F3-6143-8536-23CC-E768E864D7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3407E14-C7B2-07F5-755A-41A73DFCB5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udience Poll Question #1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4A67D34-855A-88D1-E29E-0F280E3CF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13221" y="1318261"/>
            <a:ext cx="5021578" cy="769620"/>
          </a:xfrm>
        </p:spPr>
        <p:txBody>
          <a:bodyPr/>
          <a:lstStyle/>
          <a:p>
            <a:r>
              <a:rPr lang="en-GB" dirty="0"/>
              <a:t>Why is clean cooking essential?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200CA1-4E11-CCFF-1ADD-AB0589AF44D6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GB" dirty="0"/>
              <a:t>Mitigates climate change</a:t>
            </a:r>
          </a:p>
          <a:p>
            <a:r>
              <a:rPr lang="en-GB" dirty="0"/>
              <a:t>Empowers women &amp; girls </a:t>
            </a:r>
          </a:p>
          <a:p>
            <a:r>
              <a:rPr lang="en-GB" dirty="0"/>
              <a:t>Reduces exposure to harmful smoke</a:t>
            </a:r>
          </a:p>
          <a:p>
            <a:r>
              <a:rPr lang="en-GB" dirty="0"/>
              <a:t>Enables youth to improve their quality of life </a:t>
            </a:r>
          </a:p>
        </p:txBody>
      </p:sp>
      <p:pic>
        <p:nvPicPr>
          <p:cNvPr id="8" name="Picture Placeholder 7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334D86A3-401D-63B1-6E26-A3A2AB2E1D4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80" b="5880"/>
          <a:stretch>
            <a:fillRect/>
          </a:stretch>
        </p:blipFill>
        <p:spPr/>
      </p:pic>
    </p:spTree>
    <p:custDataLst>
      <p:tags r:id="rId1"/>
    </p:custDataLst>
    <p:extLst>
      <p:ext uri="{BB962C8B-B14F-4D97-AF65-F5344CB8AC3E}">
        <p14:creationId xmlns:p14="http://schemas.microsoft.com/office/powerpoint/2010/main" val="2139010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bowl with steam coming out of it&#10;&#10;Description automatically generated with medium confidence">
            <a:extLst>
              <a:ext uri="{FF2B5EF4-FFF2-40B4-BE49-F238E27FC236}">
                <a16:creationId xmlns:a16="http://schemas.microsoft.com/office/drawing/2014/main" id="{F6567AD4-7E63-1E8F-C710-9397E2A01DA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1901"/>
          <a:stretch/>
        </p:blipFill>
        <p:spPr>
          <a:xfrm>
            <a:off x="20" y="10"/>
            <a:ext cx="5864209" cy="6857990"/>
          </a:xfrm>
          <a:custGeom>
            <a:avLst/>
            <a:gdLst>
              <a:gd name="connsiteX0" fmla="*/ 0 w 5864229"/>
              <a:gd name="connsiteY0" fmla="*/ 0 h 6858000"/>
              <a:gd name="connsiteX1" fmla="*/ 5864229 w 5864229"/>
              <a:gd name="connsiteY1" fmla="*/ 0 h 6858000"/>
              <a:gd name="connsiteX2" fmla="*/ 4955615 w 5864229"/>
              <a:gd name="connsiteY2" fmla="*/ 5555766 h 6858000"/>
              <a:gd name="connsiteX3" fmla="*/ 4358275 w 5864229"/>
              <a:gd name="connsiteY3" fmla="*/ 5984541 h 6858000"/>
              <a:gd name="connsiteX4" fmla="*/ 1 w 5864229"/>
              <a:gd name="connsiteY4" fmla="*/ 5271525 h 6858000"/>
              <a:gd name="connsiteX5" fmla="*/ 1 w 5864229"/>
              <a:gd name="connsiteY5" fmla="*/ 6858000 h 6858000"/>
              <a:gd name="connsiteX6" fmla="*/ 0 w 58642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64229" h="6858000">
                <a:moveTo>
                  <a:pt x="0" y="0"/>
                </a:moveTo>
                <a:lnTo>
                  <a:pt x="5864229" y="0"/>
                </a:lnTo>
                <a:lnTo>
                  <a:pt x="4955615" y="5555766"/>
                </a:lnTo>
                <a:cubicBezTo>
                  <a:pt x="4910610" y="5841344"/>
                  <a:pt x="4641399" y="6031183"/>
                  <a:pt x="4358275" y="5984541"/>
                </a:cubicBezTo>
                <a:lnTo>
                  <a:pt x="1" y="5271525"/>
                </a:lnTo>
                <a:lnTo>
                  <a:pt x="1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</p:pic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71675742-254E-C55C-8D29-BC0CD2826B94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97" r="21497"/>
          <a:stretch/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B53A4AC-167B-69A2-D680-ACE28AEFEA1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9" y="2284785"/>
            <a:ext cx="5638799" cy="2100359"/>
          </a:xfrm>
        </p:spPr>
        <p:txBody>
          <a:bodyPr anchor="b">
            <a:noAutofit/>
          </a:bodyPr>
          <a:lstStyle/>
          <a:p>
            <a:r>
              <a:rPr lang="en-GB"/>
              <a:t>Unleashing the Power of Youth-led Change in Clean Cooking </a:t>
            </a:r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2356590E-7ACC-8F2C-9472-2929EAAE22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654193"/>
            <a:ext cx="5638802" cy="799226"/>
          </a:xfrm>
        </p:spPr>
        <p:txBody>
          <a:bodyPr/>
          <a:lstStyle/>
          <a:p>
            <a:r>
              <a:rPr lang="en-US"/>
              <a:t>Youth Energy Summit | Nairobi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B03097-4491-397E-F134-CB56DCA86C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ctr">
            <a:normAutofit/>
          </a:bodyPr>
          <a:lstStyle/>
          <a:p>
            <a:r>
              <a:rPr lang="en-GB"/>
              <a:t>22 June 2023</a:t>
            </a:r>
          </a:p>
        </p:txBody>
      </p:sp>
      <p:sp>
        <p:nvSpPr>
          <p:cNvPr id="17" name="Footer Placeholder 5">
            <a:extLst>
              <a:ext uri="{FF2B5EF4-FFF2-40B4-BE49-F238E27FC236}">
                <a16:creationId xmlns:a16="http://schemas.microsoft.com/office/drawing/2014/main" id="{65339C90-3AE5-3CEE-5EBB-1C98D10DB8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537776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06E97F3-6143-8536-23CC-E768E864D7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3407E14-C7B2-07F5-755A-41A73DFCB5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udience Poll Question #2 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4A67D34-855A-88D1-E29E-0F280E3CF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13221" y="1416584"/>
            <a:ext cx="5021578" cy="769620"/>
          </a:xfrm>
        </p:spPr>
        <p:txBody>
          <a:bodyPr/>
          <a:lstStyle/>
          <a:p>
            <a:r>
              <a:rPr lang="en-GB" dirty="0"/>
              <a:t>What is needed for youth to lead in clean cooking?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200CA1-4E11-CCFF-1ADD-AB0589AF44D6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GB" dirty="0"/>
              <a:t>Increased awareness</a:t>
            </a:r>
          </a:p>
          <a:p>
            <a:r>
              <a:rPr lang="en-GB" dirty="0"/>
              <a:t>Education &amp; skill-training opportunities </a:t>
            </a:r>
          </a:p>
          <a:p>
            <a:r>
              <a:rPr lang="en-GB" dirty="0"/>
              <a:t>Inclusive platforms to voice their needs</a:t>
            </a:r>
          </a:p>
          <a:p>
            <a:r>
              <a:rPr lang="en-GB" dirty="0"/>
              <a:t>Mentorship &amp; funding opportunities</a:t>
            </a:r>
          </a:p>
        </p:txBody>
      </p:sp>
      <p:pic>
        <p:nvPicPr>
          <p:cNvPr id="21" name="Picture Placeholder 20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26B91060-FA85-B202-D2D0-533B0231546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80" b="5880"/>
          <a:stretch>
            <a:fillRect/>
          </a:stretch>
        </p:blipFill>
        <p:spPr/>
      </p:pic>
    </p:spTree>
    <p:custDataLst>
      <p:tags r:id="rId1"/>
    </p:custDataLst>
    <p:extLst>
      <p:ext uri="{BB962C8B-B14F-4D97-AF65-F5344CB8AC3E}">
        <p14:creationId xmlns:p14="http://schemas.microsoft.com/office/powerpoint/2010/main" val="2799233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CLEAN COOKING ALLIANCE" val="wnNceCpY"/>
  <p:tag name="THINKCELLUNDODONOTDELETE" val="0"/>
  <p:tag name="ARTICULATE_PROJECT_OPEN" val="0"/>
  <p:tag name="ARTICULATE_SLIDE_COUNT" val="3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Clean Cooking Alliance">
  <a:themeElements>
    <a:clrScheme name="CCA">
      <a:dk1>
        <a:srgbClr val="000000"/>
      </a:dk1>
      <a:lt1>
        <a:srgbClr val="FFFFFF"/>
      </a:lt1>
      <a:dk2>
        <a:srgbClr val="183B72"/>
      </a:dk2>
      <a:lt2>
        <a:srgbClr val="F2F2F2"/>
      </a:lt2>
      <a:accent1>
        <a:srgbClr val="0280BF"/>
      </a:accent1>
      <a:accent2>
        <a:srgbClr val="99D4F2"/>
      </a:accent2>
      <a:accent3>
        <a:srgbClr val="578C43"/>
      </a:accent3>
      <a:accent4>
        <a:srgbClr val="255225"/>
      </a:accent4>
      <a:accent5>
        <a:srgbClr val="F99303"/>
      </a:accent5>
      <a:accent6>
        <a:srgbClr val="B02676"/>
      </a:accent6>
      <a:hlink>
        <a:srgbClr val="0563C1"/>
      </a:hlink>
      <a:folHlink>
        <a:srgbClr val="954F72"/>
      </a:folHlink>
    </a:clrScheme>
    <a:fontScheme name="Custom 138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2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rnd"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algn="l">
          <a:defRPr sz="2200" dirty="0" err="1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Clean Cooking Alliance - Blank Template 08.potx" id="{C726EA53-9EFC-4F6C-9E7D-50C79F7A1215}" vid="{83922EEB-8E37-4FDA-A1E8-6B8B07137D8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48DAA634-D530-4AE2-96EA-23B2FE94ED70}">
  <we:reference id="wa200000729" version="3.19.222.0" store="en-US" storeType="OMEX"/>
  <we:alternateReferences>
    <we:reference id="WA200000729" version="3.19.222.0" store="WA200000729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e15595e-aef0-4233-b25e-f6458efbc9ba">
      <Terms xmlns="http://schemas.microsoft.com/office/infopath/2007/PartnerControls"/>
    </lcf76f155ced4ddcb4097134ff3c332f>
    <SharedWithUsers xmlns="6e456998-5bfd-4d11-ab8a-1d29c3184cba">
      <UserInfo>
        <DisplayName>Allegra Brandon</DisplayName>
        <AccountId>37</AccountId>
        <AccountType/>
      </UserInfo>
      <UserInfo>
        <DisplayName>Jillene Belopolsky</DisplayName>
        <AccountId>18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4EBBAFDD59EBB43958D4E5C6BE95E5C" ma:contentTypeVersion="13" ma:contentTypeDescription="Create a new document." ma:contentTypeScope="" ma:versionID="2cc7a0ed13f8b0faaf4fc030b8c05111">
  <xsd:schema xmlns:xsd="http://www.w3.org/2001/XMLSchema" xmlns:xs="http://www.w3.org/2001/XMLSchema" xmlns:p="http://schemas.microsoft.com/office/2006/metadata/properties" xmlns:ns2="6e15595e-aef0-4233-b25e-f6458efbc9ba" xmlns:ns3="6e456998-5bfd-4d11-ab8a-1d29c3184cba" targetNamespace="http://schemas.microsoft.com/office/2006/metadata/properties" ma:root="true" ma:fieldsID="b1e630fc2c7549db4a2e3f8370841c51" ns2:_="" ns3:_="">
    <xsd:import namespace="6e15595e-aef0-4233-b25e-f6458efbc9ba"/>
    <xsd:import namespace="6e456998-5bfd-4d11-ab8a-1d29c3184cb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15595e-aef0-4233-b25e-f6458efbc9b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0e960af4-01f6-4f5c-9dc6-429073b4700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456998-5bfd-4d11-ab8a-1d29c3184cba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DC65ABC-45BD-4D39-9238-AAEED51365D9}">
  <ds:schemaRefs>
    <ds:schemaRef ds:uri="http://purl.org/dc/elements/1.1/"/>
    <ds:schemaRef ds:uri="http://schemas.microsoft.com/office/2006/metadata/properties"/>
    <ds:schemaRef ds:uri="6e456998-5bfd-4d11-ab8a-1d29c3184cba"/>
    <ds:schemaRef ds:uri="http://www.w3.org/XML/1998/namespace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6e15595e-aef0-4233-b25e-f6458efbc9ba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410B2CA-651D-4A2E-9062-ABA710A24D3C}">
  <ds:schemaRefs>
    <ds:schemaRef ds:uri="6e15595e-aef0-4233-b25e-f6458efbc9ba"/>
    <ds:schemaRef ds:uri="6e456998-5bfd-4d11-ab8a-1d29c3184cb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F3A68AC-6F93-47DA-8725-C95586632DA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lean Cooking Alliance</Template>
  <TotalTime>59</TotalTime>
  <Words>297</Words>
  <Application>Microsoft Macintosh PowerPoint</Application>
  <PresentationFormat>Widescreen</PresentationFormat>
  <Paragraphs>52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Avenir Next LT Pro</vt:lpstr>
      <vt:lpstr>Calibri</vt:lpstr>
      <vt:lpstr>Roboto</vt:lpstr>
      <vt:lpstr>Clean Cooking Alliance</vt:lpstr>
      <vt:lpstr>think-cell Slide</vt:lpstr>
      <vt:lpstr>Unleashing the Power of Youth-led Change in Clean Cooking </vt:lpstr>
      <vt:lpstr>Clean Cooking  is a Youth Issue</vt:lpstr>
      <vt:lpstr>CCA Youth Strategy</vt:lpstr>
      <vt:lpstr>CCA’s Youth Strategy</vt:lpstr>
      <vt:lpstr>Youth Accelerator in Clean Cooking </vt:lpstr>
      <vt:lpstr>Unleashing the Power of Youth-led Change in Clean Cooking </vt:lpstr>
      <vt:lpstr>Audience Poll Question #1</vt:lpstr>
      <vt:lpstr>Unleashing the Power of Youth-led Change in Clean Cooking </vt:lpstr>
      <vt:lpstr>Audience Poll Question #2 </vt:lpstr>
      <vt:lpstr>Unleashing the Power of Youth-led Change in Clean Cooking </vt:lpstr>
      <vt:lpstr>Thank you!</vt:lpstr>
      <vt:lpstr>Unleashing the Power of Youth-led Change in Clean Cooking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leashing the Power of Youth-led Change in Clean Cooking </dc:title>
  <dc:creator>Anushree Deb</dc:creator>
  <cp:lastModifiedBy>Anushree Deb</cp:lastModifiedBy>
  <cp:revision>23</cp:revision>
  <dcterms:created xsi:type="dcterms:W3CDTF">2023-06-05T20:37:08Z</dcterms:created>
  <dcterms:modified xsi:type="dcterms:W3CDTF">2023-06-21T11:28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4EBBAFDD59EBB43958D4E5C6BE95E5C</vt:lpwstr>
  </property>
  <property fmtid="{D5CDD505-2E9C-101B-9397-08002B2CF9AE}" pid="3" name="MediaServiceImageTags">
    <vt:lpwstr/>
  </property>
  <property fmtid="{D5CDD505-2E9C-101B-9397-08002B2CF9AE}" pid="4" name="ArticulateGUID">
    <vt:lpwstr>982B4628-CD39-4A33-9E47-A2F31AD78304</vt:lpwstr>
  </property>
  <property fmtid="{D5CDD505-2E9C-101B-9397-08002B2CF9AE}" pid="5" name="ArticulatePath">
    <vt:lpwstr>https://brightcarbon.sharepoint.com/sites/Intranet/Projects/ABCD/Clean Cooking Alliance/CLCA 7439 - PowerPoint Template &amp; Toolkit/Clean Cooking Alliance - Template Sample 01</vt:lpwstr>
  </property>
</Properties>
</file>